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38.xml" ContentType="application/vnd.openxmlformats-officedocument.presentationml.tags+xml"/>
  <Override PartName="/ppt/diagrams/layout1.xml" ContentType="application/vnd.openxmlformats-officedocument.drawingml.diagramLayout+xml"/>
  <Override PartName="/ppt/tags/tag12.xml" ContentType="application/vnd.openxmlformats-officedocument.presentationml.tags+xml"/>
  <Override PartName="/ppt/diagrams/data2.xml" ContentType="application/vnd.openxmlformats-officedocument.drawingml.diagramData+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45.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diagrams/drawing3.xml" ContentType="application/vnd.ms-office.drawingml.diagramDrawing+xml"/>
  <Override PartName="/ppt/tags/tag112.xml" ContentType="application/vnd.openxmlformats-officedocument.presentationml.tags+xml"/>
  <Override PartName="/ppt/tags/tag123.xml" ContentType="application/vnd.openxmlformats-officedocument.presentationml.tags+xml"/>
  <Override PartName="/ppt/tags/tag141.xml" ContentType="application/vnd.openxmlformats-officedocument.presentationml.tags+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diagrams/data3.xml" ContentType="application/vnd.openxmlformats-officedocument.drawingml.diagramData+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diagrams/layout3.xml" ContentType="application/vnd.openxmlformats-officedocument.drawingml.diagramLayout+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diagrams/data1.xml" ContentType="application/vnd.openxmlformats-officedocument.drawingml.diagramData+xml"/>
  <Override PartName="/ppt/tags/tag11.xml" ContentType="application/vnd.openxmlformats-officedocument.presentationml.tags+xml"/>
  <Override PartName="/ppt/diagrams/colors3.xml" ContentType="application/vnd.openxmlformats-officedocument.drawingml.diagramColor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diagrams/drawing2.xml" ContentType="application/vnd.ms-office.drawingml.diagramDrawing+xml"/>
  <Override PartName="/ppt/tags/tag122.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68" r:id="rId5"/>
  </p:sldMasterIdLst>
  <p:notesMasterIdLst>
    <p:notesMasterId r:id="rId18"/>
  </p:notesMasterIdLst>
  <p:sldIdLst>
    <p:sldId id="287" r:id="rId6"/>
    <p:sldId id="291" r:id="rId7"/>
    <p:sldId id="292" r:id="rId8"/>
    <p:sldId id="293" r:id="rId9"/>
    <p:sldId id="294" r:id="rId10"/>
    <p:sldId id="295" r:id="rId11"/>
    <p:sldId id="296" r:id="rId12"/>
    <p:sldId id="297" r:id="rId13"/>
    <p:sldId id="298" r:id="rId14"/>
    <p:sldId id="300" r:id="rId15"/>
    <p:sldId id="299" r:id="rId16"/>
    <p:sldId id="282" r:id="rId17"/>
  </p:sldIdLst>
  <p:sldSz cx="9906000" cy="6858000" type="A4"/>
  <p:notesSz cx="6797675" cy="9926638"/>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8099C6"/>
    <a:srgbClr val="4066AA"/>
    <a:srgbClr val="DCDDDD"/>
    <a:srgbClr val="E5F2F4"/>
    <a:srgbClr val="97989A"/>
    <a:srgbClr val="BABBBC"/>
    <a:srgbClr val="BFCCE3"/>
    <a:srgbClr val="E5EAF3"/>
    <a:srgbClr val="F1F1F1"/>
    <a:srgbClr val="80BEC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9821" autoAdjust="0"/>
  </p:normalViewPr>
  <p:slideViewPr>
    <p:cSldViewPr snapToGrid="0" snapToObjects="1">
      <p:cViewPr>
        <p:scale>
          <a:sx n="100" d="100"/>
          <a:sy n="100" d="100"/>
        </p:scale>
        <p:origin x="-1014" y="-150"/>
      </p:cViewPr>
      <p:guideLst>
        <p:guide orient="horz" pos="799"/>
        <p:guide orient="horz" pos="3883"/>
        <p:guide orient="horz" pos="2207"/>
        <p:guide pos="3127"/>
        <p:guide pos="6069"/>
        <p:guide pos="1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22" Type="http://schemas.openxmlformats.org/officeDocument/2006/relationships/theme" Target="theme/theme1.xml"/><Relationship Id="rId9" Type="http://schemas.openxmlformats.org/officeDocument/2006/relationships/slide" Target="slides/slide4.xml"/><Relationship Id="rId14"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396538-A37D-4ECB-BB14-8AD76E4062A0}" type="doc">
      <dgm:prSet loTypeId="urn:microsoft.com/office/officeart/2005/8/layout/list1" loCatId="list" qsTypeId="urn:microsoft.com/office/officeart/2005/8/quickstyle/simple1" qsCatId="simple" csTypeId="urn:microsoft.com/office/officeart/2005/8/colors/accent4_5" csCatId="accent4" phldr="1"/>
      <dgm:spPr/>
      <dgm:t>
        <a:bodyPr/>
        <a:lstStyle/>
        <a:p>
          <a:endParaRPr lang="de-DE"/>
        </a:p>
      </dgm:t>
    </dgm:pt>
    <dgm:pt modelId="{9A4F6850-9EF9-44DD-ABAC-268FA0EA271D}">
      <dgm:prSet phldrT="[Text]"/>
      <dgm:spPr/>
      <dgm:t>
        <a:bodyPr/>
        <a:lstStyle/>
        <a:p>
          <a:r>
            <a:rPr lang="en-US" b="1" noProof="0" dirty="0" smtClean="0"/>
            <a:t>Status Quo</a:t>
          </a:r>
          <a:endParaRPr lang="en-US" b="1" noProof="0" dirty="0"/>
        </a:p>
      </dgm:t>
    </dgm:pt>
    <dgm:pt modelId="{7583A49F-FB99-4A4C-A12F-B398459A2BB1}" type="parTrans" cxnId="{61D8D029-F083-4CDA-88D6-31D836DB2348}">
      <dgm:prSet/>
      <dgm:spPr/>
      <dgm:t>
        <a:bodyPr/>
        <a:lstStyle/>
        <a:p>
          <a:endParaRPr lang="de-DE"/>
        </a:p>
      </dgm:t>
    </dgm:pt>
    <dgm:pt modelId="{4B322300-99FF-4CDD-A355-90293E35B579}" type="sibTrans" cxnId="{61D8D029-F083-4CDA-88D6-31D836DB2348}">
      <dgm:prSet/>
      <dgm:spPr/>
      <dgm:t>
        <a:bodyPr/>
        <a:lstStyle/>
        <a:p>
          <a:endParaRPr lang="de-DE"/>
        </a:p>
      </dgm:t>
    </dgm:pt>
    <dgm:pt modelId="{BB737B85-90B6-445B-AEB3-87D259448057}">
      <dgm:prSet phldrT="[Text]"/>
      <dgm:spPr/>
      <dgm:t>
        <a:bodyPr/>
        <a:lstStyle/>
        <a:p>
          <a:r>
            <a:rPr lang="en-US" b="1" noProof="0" dirty="0" smtClean="0"/>
            <a:t>Challenge</a:t>
          </a:r>
          <a:endParaRPr lang="en-US" b="1" noProof="0" dirty="0"/>
        </a:p>
      </dgm:t>
    </dgm:pt>
    <dgm:pt modelId="{C4C75A24-B66E-43F9-9657-8C3D419D449C}" type="parTrans" cxnId="{2FE630A8-4142-4804-82BB-0DC15E69EBD2}">
      <dgm:prSet/>
      <dgm:spPr/>
      <dgm:t>
        <a:bodyPr/>
        <a:lstStyle/>
        <a:p>
          <a:endParaRPr lang="de-DE"/>
        </a:p>
      </dgm:t>
    </dgm:pt>
    <dgm:pt modelId="{F90A4929-2B79-48FA-B2F4-A50B3DECBFD8}" type="sibTrans" cxnId="{2FE630A8-4142-4804-82BB-0DC15E69EBD2}">
      <dgm:prSet/>
      <dgm:spPr/>
      <dgm:t>
        <a:bodyPr/>
        <a:lstStyle/>
        <a:p>
          <a:endParaRPr lang="de-DE"/>
        </a:p>
      </dgm:t>
    </dgm:pt>
    <dgm:pt modelId="{80A78A86-E726-463E-80AE-5E27526C70C0}">
      <dgm:prSet phldrT="[Text]"/>
      <dgm:spPr/>
      <dgm:t>
        <a:bodyPr/>
        <a:lstStyle/>
        <a:p>
          <a:r>
            <a:rPr lang="en-US" b="1" noProof="0" dirty="0" smtClean="0"/>
            <a:t>Strategic Direction</a:t>
          </a:r>
          <a:endParaRPr lang="en-US" b="1" noProof="0" dirty="0"/>
        </a:p>
      </dgm:t>
    </dgm:pt>
    <dgm:pt modelId="{9C9BE2F2-CD29-4FE8-9887-F3BDC1B7EF8A}" type="parTrans" cxnId="{F3B8EC85-C9CD-45E7-8E1B-84DB7474C029}">
      <dgm:prSet/>
      <dgm:spPr/>
      <dgm:t>
        <a:bodyPr/>
        <a:lstStyle/>
        <a:p>
          <a:endParaRPr lang="de-DE"/>
        </a:p>
      </dgm:t>
    </dgm:pt>
    <dgm:pt modelId="{7568BC8F-1BB3-479F-963D-0647F477971E}" type="sibTrans" cxnId="{F3B8EC85-C9CD-45E7-8E1B-84DB7474C029}">
      <dgm:prSet/>
      <dgm:spPr/>
      <dgm:t>
        <a:bodyPr/>
        <a:lstStyle/>
        <a:p>
          <a:endParaRPr lang="de-DE"/>
        </a:p>
      </dgm:t>
    </dgm:pt>
    <dgm:pt modelId="{B346B809-C1E6-4425-822C-CCAD7EEAC209}">
      <dgm:prSet phldrT="[Text]"/>
      <dgm:spPr/>
      <dgm:t>
        <a:bodyPr/>
        <a:lstStyle/>
        <a:p>
          <a:r>
            <a:rPr lang="en-US" b="1" noProof="0" dirty="0" smtClean="0"/>
            <a:t>High complex and sophisticated tools</a:t>
          </a:r>
          <a:endParaRPr lang="en-US" b="0" noProof="0" dirty="0"/>
        </a:p>
      </dgm:t>
    </dgm:pt>
    <dgm:pt modelId="{A2345B8D-EAE7-4292-BD5B-D3DA77A09FB7}" type="parTrans" cxnId="{82217FAF-CF21-4081-AD51-974081BB374A}">
      <dgm:prSet/>
      <dgm:spPr/>
      <dgm:t>
        <a:bodyPr/>
        <a:lstStyle/>
        <a:p>
          <a:endParaRPr lang="de-DE"/>
        </a:p>
      </dgm:t>
    </dgm:pt>
    <dgm:pt modelId="{DC034C09-C718-435B-83FF-DDF27C4AAA47}" type="sibTrans" cxnId="{82217FAF-CF21-4081-AD51-974081BB374A}">
      <dgm:prSet/>
      <dgm:spPr/>
      <dgm:t>
        <a:bodyPr/>
        <a:lstStyle/>
        <a:p>
          <a:endParaRPr lang="de-DE"/>
        </a:p>
      </dgm:t>
    </dgm:pt>
    <dgm:pt modelId="{781B9614-6116-4140-BCC5-F5DB4A0C8E92}">
      <dgm:prSet phldrT="[Text]"/>
      <dgm:spPr/>
      <dgm:t>
        <a:bodyPr/>
        <a:lstStyle/>
        <a:p>
          <a:r>
            <a:rPr lang="en-US" b="1" noProof="0" dirty="0" smtClean="0"/>
            <a:t>100% quality and roll-out at January 2013</a:t>
          </a:r>
          <a:endParaRPr lang="en-US" b="1" noProof="0" dirty="0"/>
        </a:p>
      </dgm:t>
    </dgm:pt>
    <dgm:pt modelId="{961A883B-A83B-4445-8C38-BFAF4D34E6B9}" type="parTrans" cxnId="{DF34DBDD-CC5B-461B-9D1E-43A0A42F9185}">
      <dgm:prSet/>
      <dgm:spPr/>
      <dgm:t>
        <a:bodyPr/>
        <a:lstStyle/>
        <a:p>
          <a:endParaRPr lang="de-DE"/>
        </a:p>
      </dgm:t>
    </dgm:pt>
    <dgm:pt modelId="{20C50BD1-1AA9-4BC1-AB7C-9E92718F11B1}" type="sibTrans" cxnId="{DF34DBDD-CC5B-461B-9D1E-43A0A42F9185}">
      <dgm:prSet/>
      <dgm:spPr/>
      <dgm:t>
        <a:bodyPr/>
        <a:lstStyle/>
        <a:p>
          <a:endParaRPr lang="de-DE"/>
        </a:p>
      </dgm:t>
    </dgm:pt>
    <dgm:pt modelId="{E7C64814-1BC2-44C9-9450-E3F58A2D1895}">
      <dgm:prSet phldrT="[Text]"/>
      <dgm:spPr/>
      <dgm:t>
        <a:bodyPr/>
        <a:lstStyle/>
        <a:p>
          <a:r>
            <a:rPr lang="en-US" b="1" noProof="0" dirty="0" smtClean="0"/>
            <a:t>…</a:t>
          </a:r>
          <a:endParaRPr lang="en-US" b="0" noProof="0" dirty="0"/>
        </a:p>
      </dgm:t>
    </dgm:pt>
    <dgm:pt modelId="{BAD882A3-99E4-4BF2-8C72-8E04A10AD586}" type="parTrans" cxnId="{41B26D0E-97E6-4496-8E91-138AE746DB12}">
      <dgm:prSet/>
      <dgm:spPr/>
      <dgm:t>
        <a:bodyPr/>
        <a:lstStyle/>
        <a:p>
          <a:endParaRPr lang="de-DE"/>
        </a:p>
      </dgm:t>
    </dgm:pt>
    <dgm:pt modelId="{32092F71-8897-4A35-89FC-646510E9E80F}" type="sibTrans" cxnId="{41B26D0E-97E6-4496-8E91-138AE746DB12}">
      <dgm:prSet/>
      <dgm:spPr/>
      <dgm:t>
        <a:bodyPr/>
        <a:lstStyle/>
        <a:p>
          <a:endParaRPr lang="de-DE"/>
        </a:p>
      </dgm:t>
    </dgm:pt>
    <dgm:pt modelId="{981A413B-B142-4414-BDC8-BE46C15F7EF1}">
      <dgm:prSet phldrT="[Text]"/>
      <dgm:spPr/>
      <dgm:t>
        <a:bodyPr/>
        <a:lstStyle/>
        <a:p>
          <a:r>
            <a:rPr lang="en-US" b="1" noProof="0" dirty="0" smtClean="0"/>
            <a:t>Clear defined specifications</a:t>
          </a:r>
          <a:endParaRPr lang="en-US" b="1" noProof="0" dirty="0"/>
        </a:p>
      </dgm:t>
    </dgm:pt>
    <dgm:pt modelId="{2355CEA2-3A53-4845-92CF-5B9E342B21F9}" type="parTrans" cxnId="{A6051F8B-6256-4FA8-A94B-4194054BC342}">
      <dgm:prSet/>
      <dgm:spPr/>
      <dgm:t>
        <a:bodyPr/>
        <a:lstStyle/>
        <a:p>
          <a:endParaRPr lang="de-DE"/>
        </a:p>
      </dgm:t>
    </dgm:pt>
    <dgm:pt modelId="{68218CC0-BCBC-43D0-87CB-3101FD08BCCD}" type="sibTrans" cxnId="{A6051F8B-6256-4FA8-A94B-4194054BC342}">
      <dgm:prSet/>
      <dgm:spPr/>
      <dgm:t>
        <a:bodyPr/>
        <a:lstStyle/>
        <a:p>
          <a:endParaRPr lang="de-DE"/>
        </a:p>
      </dgm:t>
    </dgm:pt>
    <dgm:pt modelId="{B46F1CDC-4E36-4DA6-8996-CAC35EEC2070}">
      <dgm:prSet phldrT="[Text]"/>
      <dgm:spPr/>
      <dgm:t>
        <a:bodyPr/>
        <a:lstStyle/>
        <a:p>
          <a:r>
            <a:rPr lang="en-US" noProof="0" dirty="0" smtClean="0"/>
            <a:t>No detailed specification in former projects available</a:t>
          </a:r>
          <a:endParaRPr lang="en-US" noProof="0" dirty="0"/>
        </a:p>
      </dgm:t>
    </dgm:pt>
    <dgm:pt modelId="{E386AD35-0327-4FA6-B131-CF1FD84141D8}" type="parTrans" cxnId="{C89D67AD-5B43-4186-8766-70AB26D9CEC4}">
      <dgm:prSet/>
      <dgm:spPr/>
      <dgm:t>
        <a:bodyPr/>
        <a:lstStyle/>
        <a:p>
          <a:endParaRPr lang="de-DE"/>
        </a:p>
      </dgm:t>
    </dgm:pt>
    <dgm:pt modelId="{E78B4902-FD6E-416E-BB0E-9F7D5B43393B}" type="sibTrans" cxnId="{C89D67AD-5B43-4186-8766-70AB26D9CEC4}">
      <dgm:prSet/>
      <dgm:spPr/>
      <dgm:t>
        <a:bodyPr/>
        <a:lstStyle/>
        <a:p>
          <a:endParaRPr lang="de-DE"/>
        </a:p>
      </dgm:t>
    </dgm:pt>
    <dgm:pt modelId="{B32B67F8-B8B3-432E-A344-90C3359728D8}">
      <dgm:prSet phldrT="[Text]"/>
      <dgm:spPr/>
      <dgm:t>
        <a:bodyPr/>
        <a:lstStyle/>
        <a:p>
          <a:r>
            <a:rPr lang="en-US" noProof="0" dirty="0" smtClean="0"/>
            <a:t>…</a:t>
          </a:r>
          <a:endParaRPr lang="en-US" noProof="0" dirty="0"/>
        </a:p>
      </dgm:t>
    </dgm:pt>
    <dgm:pt modelId="{F7DD1794-4CB5-4BC2-8F39-8FE69DD690FE}" type="parTrans" cxnId="{5385CD6D-9533-44D0-9251-8DE5A29B3ECA}">
      <dgm:prSet/>
      <dgm:spPr/>
      <dgm:t>
        <a:bodyPr/>
        <a:lstStyle/>
        <a:p>
          <a:endParaRPr lang="de-DE"/>
        </a:p>
      </dgm:t>
    </dgm:pt>
    <dgm:pt modelId="{282B6820-7728-4E22-83AE-65ADEB49BDDB}" type="sibTrans" cxnId="{5385CD6D-9533-44D0-9251-8DE5A29B3ECA}">
      <dgm:prSet/>
      <dgm:spPr/>
      <dgm:t>
        <a:bodyPr/>
        <a:lstStyle/>
        <a:p>
          <a:endParaRPr lang="de-DE"/>
        </a:p>
      </dgm:t>
    </dgm:pt>
    <dgm:pt modelId="{19A77DC8-F976-49DD-9B6E-D66278342D8C}">
      <dgm:prSet phldrT="[Text]"/>
      <dgm:spPr/>
      <dgm:t>
        <a:bodyPr/>
        <a:lstStyle/>
        <a:p>
          <a:r>
            <a:rPr lang="en-US" b="1" noProof="0" dirty="0" smtClean="0"/>
            <a:t>Internal project/product manager</a:t>
          </a:r>
          <a:endParaRPr lang="en-US" b="1" noProof="0" dirty="0"/>
        </a:p>
      </dgm:t>
    </dgm:pt>
    <dgm:pt modelId="{1C5CCE14-51AF-46EF-A3F5-6CD72849283B}" type="parTrans" cxnId="{033D246B-50DE-4632-8686-949635C96BD8}">
      <dgm:prSet/>
      <dgm:spPr/>
      <dgm:t>
        <a:bodyPr/>
        <a:lstStyle/>
        <a:p>
          <a:endParaRPr lang="de-DE"/>
        </a:p>
      </dgm:t>
    </dgm:pt>
    <dgm:pt modelId="{8A83E8AD-180E-411E-BB02-92D826A62663}" type="sibTrans" cxnId="{033D246B-50DE-4632-8686-949635C96BD8}">
      <dgm:prSet/>
      <dgm:spPr/>
      <dgm:t>
        <a:bodyPr/>
        <a:lstStyle/>
        <a:p>
          <a:endParaRPr lang="de-DE"/>
        </a:p>
      </dgm:t>
    </dgm:pt>
    <dgm:pt modelId="{5A824CA1-FF97-4D05-ACDD-69A55C366718}">
      <dgm:prSet phldrT="[Text]"/>
      <dgm:spPr/>
      <dgm:t>
        <a:bodyPr/>
        <a:lstStyle/>
        <a:p>
          <a:r>
            <a:rPr lang="en-US" b="1" noProof="0" dirty="0" smtClean="0"/>
            <a:t>Project Management behavior of SPs</a:t>
          </a:r>
          <a:endParaRPr lang="en-US" b="1" noProof="0" dirty="0"/>
        </a:p>
      </dgm:t>
    </dgm:pt>
    <dgm:pt modelId="{3C1DB52E-2515-4814-B65B-A4E615E5043F}" type="parTrans" cxnId="{C54C08C5-6AEE-4A61-BD62-85E9504EB9BC}">
      <dgm:prSet/>
      <dgm:spPr/>
      <dgm:t>
        <a:bodyPr/>
        <a:lstStyle/>
        <a:p>
          <a:endParaRPr lang="de-DE"/>
        </a:p>
      </dgm:t>
    </dgm:pt>
    <dgm:pt modelId="{6DF432D2-F022-415C-A3D3-EC01B4023089}" type="sibTrans" cxnId="{C54C08C5-6AEE-4A61-BD62-85E9504EB9BC}">
      <dgm:prSet/>
      <dgm:spPr/>
      <dgm:t>
        <a:bodyPr/>
        <a:lstStyle/>
        <a:p>
          <a:endParaRPr lang="de-DE"/>
        </a:p>
      </dgm:t>
    </dgm:pt>
    <dgm:pt modelId="{C4D79FDA-0F50-4B61-9E63-D7457EDA5B0B}">
      <dgm:prSet phldrT="[Text]"/>
      <dgm:spPr/>
      <dgm:t>
        <a:bodyPr/>
        <a:lstStyle/>
        <a:p>
          <a:r>
            <a:rPr lang="en-US" b="0" noProof="0" dirty="0" smtClean="0"/>
            <a:t>Fulfillment of KPMG regulatory from IT Risk (global!)</a:t>
          </a:r>
          <a:endParaRPr lang="en-US" b="0" noProof="0" dirty="0"/>
        </a:p>
      </dgm:t>
    </dgm:pt>
    <dgm:pt modelId="{744AFF4A-9E2E-4E57-8A31-DCFFDFF08F02}" type="parTrans" cxnId="{313CBC10-54C2-4DFE-9265-B95913F623C2}">
      <dgm:prSet/>
      <dgm:spPr/>
      <dgm:t>
        <a:bodyPr/>
        <a:lstStyle/>
        <a:p>
          <a:endParaRPr lang="de-DE"/>
        </a:p>
      </dgm:t>
    </dgm:pt>
    <dgm:pt modelId="{8BF730D9-8F93-4E76-A23D-40653768D25B}" type="sibTrans" cxnId="{313CBC10-54C2-4DFE-9265-B95913F623C2}">
      <dgm:prSet/>
      <dgm:spPr/>
      <dgm:t>
        <a:bodyPr/>
        <a:lstStyle/>
        <a:p>
          <a:endParaRPr lang="de-DE"/>
        </a:p>
      </dgm:t>
    </dgm:pt>
    <dgm:pt modelId="{CBB1E781-DE63-4A1D-A8BA-7FF176D08F9E}" type="pres">
      <dgm:prSet presAssocID="{27396538-A37D-4ECB-BB14-8AD76E4062A0}" presName="linear" presStyleCnt="0">
        <dgm:presLayoutVars>
          <dgm:dir/>
          <dgm:animLvl val="lvl"/>
          <dgm:resizeHandles val="exact"/>
        </dgm:presLayoutVars>
      </dgm:prSet>
      <dgm:spPr/>
      <dgm:t>
        <a:bodyPr/>
        <a:lstStyle/>
        <a:p>
          <a:endParaRPr lang="de-DE"/>
        </a:p>
      </dgm:t>
    </dgm:pt>
    <dgm:pt modelId="{E0E21CA8-45AD-4EB1-B165-7D92CA705FEB}" type="pres">
      <dgm:prSet presAssocID="{9A4F6850-9EF9-44DD-ABAC-268FA0EA271D}" presName="parentLin" presStyleCnt="0"/>
      <dgm:spPr/>
    </dgm:pt>
    <dgm:pt modelId="{1D25F187-BAF6-47BD-9180-F18CB0D9E2A4}" type="pres">
      <dgm:prSet presAssocID="{9A4F6850-9EF9-44DD-ABAC-268FA0EA271D}" presName="parentLeftMargin" presStyleLbl="node1" presStyleIdx="0" presStyleCnt="3"/>
      <dgm:spPr/>
      <dgm:t>
        <a:bodyPr/>
        <a:lstStyle/>
        <a:p>
          <a:endParaRPr lang="de-DE"/>
        </a:p>
      </dgm:t>
    </dgm:pt>
    <dgm:pt modelId="{A885F1C4-6277-4D36-9C9E-2DE3B4954362}" type="pres">
      <dgm:prSet presAssocID="{9A4F6850-9EF9-44DD-ABAC-268FA0EA271D}" presName="parentText" presStyleLbl="node1" presStyleIdx="0" presStyleCnt="3">
        <dgm:presLayoutVars>
          <dgm:chMax val="0"/>
          <dgm:bulletEnabled val="1"/>
        </dgm:presLayoutVars>
      </dgm:prSet>
      <dgm:spPr/>
      <dgm:t>
        <a:bodyPr/>
        <a:lstStyle/>
        <a:p>
          <a:endParaRPr lang="de-DE"/>
        </a:p>
      </dgm:t>
    </dgm:pt>
    <dgm:pt modelId="{619DE6C5-A067-4906-A45A-5AC897231E8A}" type="pres">
      <dgm:prSet presAssocID="{9A4F6850-9EF9-44DD-ABAC-268FA0EA271D}" presName="negativeSpace" presStyleCnt="0"/>
      <dgm:spPr/>
    </dgm:pt>
    <dgm:pt modelId="{3F73B4CD-125E-4222-A526-C7F55D6815E8}" type="pres">
      <dgm:prSet presAssocID="{9A4F6850-9EF9-44DD-ABAC-268FA0EA271D}" presName="childText" presStyleLbl="conFgAcc1" presStyleIdx="0" presStyleCnt="3" custLinFactNeighborY="12363">
        <dgm:presLayoutVars>
          <dgm:bulletEnabled val="1"/>
        </dgm:presLayoutVars>
      </dgm:prSet>
      <dgm:spPr/>
      <dgm:t>
        <a:bodyPr/>
        <a:lstStyle/>
        <a:p>
          <a:endParaRPr lang="de-DE"/>
        </a:p>
      </dgm:t>
    </dgm:pt>
    <dgm:pt modelId="{2FA97EA3-72A1-4C2D-B987-C0C20FC07DF1}" type="pres">
      <dgm:prSet presAssocID="{4B322300-99FF-4CDD-A355-90293E35B579}" presName="spaceBetweenRectangles" presStyleCnt="0"/>
      <dgm:spPr/>
    </dgm:pt>
    <dgm:pt modelId="{50A79482-01A7-42FD-A085-F87DCD2CADFA}" type="pres">
      <dgm:prSet presAssocID="{BB737B85-90B6-445B-AEB3-87D259448057}" presName="parentLin" presStyleCnt="0"/>
      <dgm:spPr/>
    </dgm:pt>
    <dgm:pt modelId="{94373543-CD75-4AAA-B430-D0FFC3105EE9}" type="pres">
      <dgm:prSet presAssocID="{BB737B85-90B6-445B-AEB3-87D259448057}" presName="parentLeftMargin" presStyleLbl="node1" presStyleIdx="0" presStyleCnt="3"/>
      <dgm:spPr/>
      <dgm:t>
        <a:bodyPr/>
        <a:lstStyle/>
        <a:p>
          <a:endParaRPr lang="de-DE"/>
        </a:p>
      </dgm:t>
    </dgm:pt>
    <dgm:pt modelId="{D87DF3E9-7EDE-43FA-8C2D-D316A26B1E8F}" type="pres">
      <dgm:prSet presAssocID="{BB737B85-90B6-445B-AEB3-87D259448057}" presName="parentText" presStyleLbl="node1" presStyleIdx="1" presStyleCnt="3">
        <dgm:presLayoutVars>
          <dgm:chMax val="0"/>
          <dgm:bulletEnabled val="1"/>
        </dgm:presLayoutVars>
      </dgm:prSet>
      <dgm:spPr/>
      <dgm:t>
        <a:bodyPr/>
        <a:lstStyle/>
        <a:p>
          <a:endParaRPr lang="de-DE"/>
        </a:p>
      </dgm:t>
    </dgm:pt>
    <dgm:pt modelId="{47CB4DFC-2ABD-47AA-A8FE-79618B6E756A}" type="pres">
      <dgm:prSet presAssocID="{BB737B85-90B6-445B-AEB3-87D259448057}" presName="negativeSpace" presStyleCnt="0"/>
      <dgm:spPr/>
    </dgm:pt>
    <dgm:pt modelId="{970CDC8F-3F3D-403A-961D-13C07039E9B0}" type="pres">
      <dgm:prSet presAssocID="{BB737B85-90B6-445B-AEB3-87D259448057}" presName="childText" presStyleLbl="conFgAcc1" presStyleIdx="1" presStyleCnt="3">
        <dgm:presLayoutVars>
          <dgm:bulletEnabled val="1"/>
        </dgm:presLayoutVars>
      </dgm:prSet>
      <dgm:spPr/>
      <dgm:t>
        <a:bodyPr/>
        <a:lstStyle/>
        <a:p>
          <a:endParaRPr lang="de-DE"/>
        </a:p>
      </dgm:t>
    </dgm:pt>
    <dgm:pt modelId="{26F85C1B-8B57-4FE9-BCD8-75D829ECA3F0}" type="pres">
      <dgm:prSet presAssocID="{F90A4929-2B79-48FA-B2F4-A50B3DECBFD8}" presName="spaceBetweenRectangles" presStyleCnt="0"/>
      <dgm:spPr/>
    </dgm:pt>
    <dgm:pt modelId="{F4B3F9AB-9879-4834-93E1-9F5CD5036687}" type="pres">
      <dgm:prSet presAssocID="{80A78A86-E726-463E-80AE-5E27526C70C0}" presName="parentLin" presStyleCnt="0"/>
      <dgm:spPr/>
    </dgm:pt>
    <dgm:pt modelId="{9426BC1A-C9DB-4879-84A9-C782149CC6B9}" type="pres">
      <dgm:prSet presAssocID="{80A78A86-E726-463E-80AE-5E27526C70C0}" presName="parentLeftMargin" presStyleLbl="node1" presStyleIdx="1" presStyleCnt="3"/>
      <dgm:spPr/>
      <dgm:t>
        <a:bodyPr/>
        <a:lstStyle/>
        <a:p>
          <a:endParaRPr lang="de-DE"/>
        </a:p>
      </dgm:t>
    </dgm:pt>
    <dgm:pt modelId="{0D4348BF-27F7-41EE-A0BF-C63A15D88782}" type="pres">
      <dgm:prSet presAssocID="{80A78A86-E726-463E-80AE-5E27526C70C0}" presName="parentText" presStyleLbl="node1" presStyleIdx="2" presStyleCnt="3">
        <dgm:presLayoutVars>
          <dgm:chMax val="0"/>
          <dgm:bulletEnabled val="1"/>
        </dgm:presLayoutVars>
      </dgm:prSet>
      <dgm:spPr/>
      <dgm:t>
        <a:bodyPr/>
        <a:lstStyle/>
        <a:p>
          <a:endParaRPr lang="de-DE"/>
        </a:p>
      </dgm:t>
    </dgm:pt>
    <dgm:pt modelId="{DF950FFB-0713-4708-85C6-C35B4F4EF05E}" type="pres">
      <dgm:prSet presAssocID="{80A78A86-E726-463E-80AE-5E27526C70C0}" presName="negativeSpace" presStyleCnt="0"/>
      <dgm:spPr/>
    </dgm:pt>
    <dgm:pt modelId="{C39C504B-DE52-479D-9D6A-A35A34C5A134}" type="pres">
      <dgm:prSet presAssocID="{80A78A86-E726-463E-80AE-5E27526C70C0}" presName="childText" presStyleLbl="conFgAcc1" presStyleIdx="2" presStyleCnt="3">
        <dgm:presLayoutVars>
          <dgm:bulletEnabled val="1"/>
        </dgm:presLayoutVars>
      </dgm:prSet>
      <dgm:spPr/>
      <dgm:t>
        <a:bodyPr/>
        <a:lstStyle/>
        <a:p>
          <a:endParaRPr lang="de-DE"/>
        </a:p>
      </dgm:t>
    </dgm:pt>
  </dgm:ptLst>
  <dgm:cxnLst>
    <dgm:cxn modelId="{F258DF4A-C775-4717-9E1E-B0D4F01890C1}" type="presOf" srcId="{5A824CA1-FF97-4D05-ACDD-69A55C366718}" destId="{C39C504B-DE52-479D-9D6A-A35A34C5A134}" srcOrd="0" destOrd="3" presId="urn:microsoft.com/office/officeart/2005/8/layout/list1"/>
    <dgm:cxn modelId="{4D8FFA06-019B-4FE8-82C4-1309BD642C9A}" type="presOf" srcId="{B46F1CDC-4E36-4DA6-8996-CAC35EEC2070}" destId="{3F73B4CD-125E-4222-A526-C7F55D6815E8}" srcOrd="0" destOrd="0" presId="urn:microsoft.com/office/officeart/2005/8/layout/list1"/>
    <dgm:cxn modelId="{61D8D029-F083-4CDA-88D6-31D836DB2348}" srcId="{27396538-A37D-4ECB-BB14-8AD76E4062A0}" destId="{9A4F6850-9EF9-44DD-ABAC-268FA0EA271D}" srcOrd="0" destOrd="0" parTransId="{7583A49F-FB99-4A4C-A12F-B398459A2BB1}" sibTransId="{4B322300-99FF-4CDD-A355-90293E35B579}"/>
    <dgm:cxn modelId="{C54C08C5-6AEE-4A61-BD62-85E9504EB9BC}" srcId="{80A78A86-E726-463E-80AE-5E27526C70C0}" destId="{5A824CA1-FF97-4D05-ACDD-69A55C366718}" srcOrd="3" destOrd="0" parTransId="{3C1DB52E-2515-4814-B65B-A4E615E5043F}" sibTransId="{6DF432D2-F022-415C-A3D3-EC01B4023089}"/>
    <dgm:cxn modelId="{375CB891-3C92-462D-8F4F-662973FB497F}" type="presOf" srcId="{BB737B85-90B6-445B-AEB3-87D259448057}" destId="{94373543-CD75-4AAA-B430-D0FFC3105EE9}" srcOrd="0" destOrd="0" presId="urn:microsoft.com/office/officeart/2005/8/layout/list1"/>
    <dgm:cxn modelId="{A2B93A46-F3BA-4723-B440-2C4CAEBE2459}" type="presOf" srcId="{9A4F6850-9EF9-44DD-ABAC-268FA0EA271D}" destId="{1D25F187-BAF6-47BD-9180-F18CB0D9E2A4}" srcOrd="0" destOrd="0" presId="urn:microsoft.com/office/officeart/2005/8/layout/list1"/>
    <dgm:cxn modelId="{8E8436A2-ACF0-4828-A08A-3FA6ACD8CF9E}" type="presOf" srcId="{B32B67F8-B8B3-432E-A344-90C3359728D8}" destId="{3F73B4CD-125E-4222-A526-C7F55D6815E8}" srcOrd="0" destOrd="1" presId="urn:microsoft.com/office/officeart/2005/8/layout/list1"/>
    <dgm:cxn modelId="{346075AA-8952-4261-83D0-1B7D651E7B2F}" type="presOf" srcId="{80A78A86-E726-463E-80AE-5E27526C70C0}" destId="{9426BC1A-C9DB-4879-84A9-C782149CC6B9}" srcOrd="0" destOrd="0" presId="urn:microsoft.com/office/officeart/2005/8/layout/list1"/>
    <dgm:cxn modelId="{A6051F8B-6256-4FA8-A94B-4194054BC342}" srcId="{80A78A86-E726-463E-80AE-5E27526C70C0}" destId="{981A413B-B142-4414-BDC8-BE46C15F7EF1}" srcOrd="1" destOrd="0" parTransId="{2355CEA2-3A53-4845-92CF-5B9E342B21F9}" sibTransId="{68218CC0-BCBC-43D0-87CB-3101FD08BCCD}"/>
    <dgm:cxn modelId="{5385CD6D-9533-44D0-9251-8DE5A29B3ECA}" srcId="{9A4F6850-9EF9-44DD-ABAC-268FA0EA271D}" destId="{B32B67F8-B8B3-432E-A344-90C3359728D8}" srcOrd="1" destOrd="0" parTransId="{F7DD1794-4CB5-4BC2-8F39-8FE69DD690FE}" sibTransId="{282B6820-7728-4E22-83AE-65ADEB49BDDB}"/>
    <dgm:cxn modelId="{8F06027C-1370-4587-A14F-47FD84676C52}" type="presOf" srcId="{E7C64814-1BC2-44C9-9450-E3F58A2D1895}" destId="{970CDC8F-3F3D-403A-961D-13C07039E9B0}" srcOrd="0" destOrd="2" presId="urn:microsoft.com/office/officeart/2005/8/layout/list1"/>
    <dgm:cxn modelId="{2FE630A8-4142-4804-82BB-0DC15E69EBD2}" srcId="{27396538-A37D-4ECB-BB14-8AD76E4062A0}" destId="{BB737B85-90B6-445B-AEB3-87D259448057}" srcOrd="1" destOrd="0" parTransId="{C4C75A24-B66E-43F9-9657-8C3D419D449C}" sibTransId="{F90A4929-2B79-48FA-B2F4-A50B3DECBFD8}"/>
    <dgm:cxn modelId="{7137CF0F-828B-488C-AA26-C5A9D386246C}" type="presOf" srcId="{9A4F6850-9EF9-44DD-ABAC-268FA0EA271D}" destId="{A885F1C4-6277-4D36-9C9E-2DE3B4954362}" srcOrd="1" destOrd="0" presId="urn:microsoft.com/office/officeart/2005/8/layout/list1"/>
    <dgm:cxn modelId="{033D246B-50DE-4632-8686-949635C96BD8}" srcId="{80A78A86-E726-463E-80AE-5E27526C70C0}" destId="{19A77DC8-F976-49DD-9B6E-D66278342D8C}" srcOrd="2" destOrd="0" parTransId="{1C5CCE14-51AF-46EF-A3F5-6CD72849283B}" sibTransId="{8A83E8AD-180E-411E-BB02-92D826A62663}"/>
    <dgm:cxn modelId="{5668D3A4-E45C-4E31-9C83-B9D13D382BFD}" type="presOf" srcId="{981A413B-B142-4414-BDC8-BE46C15F7EF1}" destId="{C39C504B-DE52-479D-9D6A-A35A34C5A134}" srcOrd="0" destOrd="1" presId="urn:microsoft.com/office/officeart/2005/8/layout/list1"/>
    <dgm:cxn modelId="{41B26D0E-97E6-4496-8E91-138AE746DB12}" srcId="{BB737B85-90B6-445B-AEB3-87D259448057}" destId="{E7C64814-1BC2-44C9-9450-E3F58A2D1895}" srcOrd="2" destOrd="0" parTransId="{BAD882A3-99E4-4BF2-8C72-8E04A10AD586}" sibTransId="{32092F71-8897-4A35-89FC-646510E9E80F}"/>
    <dgm:cxn modelId="{45874488-F1BC-4DBD-B908-3D6D9CF3EE71}" type="presOf" srcId="{781B9614-6116-4140-BCC5-F5DB4A0C8E92}" destId="{C39C504B-DE52-479D-9D6A-A35A34C5A134}" srcOrd="0" destOrd="0" presId="urn:microsoft.com/office/officeart/2005/8/layout/list1"/>
    <dgm:cxn modelId="{7DB9CC0A-49B8-4713-BB67-4E60EACE4D18}" type="presOf" srcId="{19A77DC8-F976-49DD-9B6E-D66278342D8C}" destId="{C39C504B-DE52-479D-9D6A-A35A34C5A134}" srcOrd="0" destOrd="2" presId="urn:microsoft.com/office/officeart/2005/8/layout/list1"/>
    <dgm:cxn modelId="{43063B50-6A80-410D-B70E-9D0716F72B3C}" type="presOf" srcId="{B346B809-C1E6-4425-822C-CCAD7EEAC209}" destId="{970CDC8F-3F3D-403A-961D-13C07039E9B0}" srcOrd="0" destOrd="0" presId="urn:microsoft.com/office/officeart/2005/8/layout/list1"/>
    <dgm:cxn modelId="{DF34DBDD-CC5B-461B-9D1E-43A0A42F9185}" srcId="{80A78A86-E726-463E-80AE-5E27526C70C0}" destId="{781B9614-6116-4140-BCC5-F5DB4A0C8E92}" srcOrd="0" destOrd="0" parTransId="{961A883B-A83B-4445-8C38-BFAF4D34E6B9}" sibTransId="{20C50BD1-1AA9-4BC1-AB7C-9E92718F11B1}"/>
    <dgm:cxn modelId="{313CBC10-54C2-4DFE-9265-B95913F623C2}" srcId="{BB737B85-90B6-445B-AEB3-87D259448057}" destId="{C4D79FDA-0F50-4B61-9E63-D7457EDA5B0B}" srcOrd="1" destOrd="0" parTransId="{744AFF4A-9E2E-4E57-8A31-DCFFDFF08F02}" sibTransId="{8BF730D9-8F93-4E76-A23D-40653768D25B}"/>
    <dgm:cxn modelId="{F3B8EC85-C9CD-45E7-8E1B-84DB7474C029}" srcId="{27396538-A37D-4ECB-BB14-8AD76E4062A0}" destId="{80A78A86-E726-463E-80AE-5E27526C70C0}" srcOrd="2" destOrd="0" parTransId="{9C9BE2F2-CD29-4FE8-9887-F3BDC1B7EF8A}" sibTransId="{7568BC8F-1BB3-479F-963D-0647F477971E}"/>
    <dgm:cxn modelId="{82217FAF-CF21-4081-AD51-974081BB374A}" srcId="{BB737B85-90B6-445B-AEB3-87D259448057}" destId="{B346B809-C1E6-4425-822C-CCAD7EEAC209}" srcOrd="0" destOrd="0" parTransId="{A2345B8D-EAE7-4292-BD5B-D3DA77A09FB7}" sibTransId="{DC034C09-C718-435B-83FF-DDF27C4AAA47}"/>
    <dgm:cxn modelId="{C89D67AD-5B43-4186-8766-70AB26D9CEC4}" srcId="{9A4F6850-9EF9-44DD-ABAC-268FA0EA271D}" destId="{B46F1CDC-4E36-4DA6-8996-CAC35EEC2070}" srcOrd="0" destOrd="0" parTransId="{E386AD35-0327-4FA6-B131-CF1FD84141D8}" sibTransId="{E78B4902-FD6E-416E-BB0E-9F7D5B43393B}"/>
    <dgm:cxn modelId="{AFACA1CB-19ED-4CE6-AAC6-6CAF6C760338}" type="presOf" srcId="{BB737B85-90B6-445B-AEB3-87D259448057}" destId="{D87DF3E9-7EDE-43FA-8C2D-D316A26B1E8F}" srcOrd="1" destOrd="0" presId="urn:microsoft.com/office/officeart/2005/8/layout/list1"/>
    <dgm:cxn modelId="{ED10A9D4-BD2B-494E-BED3-6F922767EC4E}" type="presOf" srcId="{C4D79FDA-0F50-4B61-9E63-D7457EDA5B0B}" destId="{970CDC8F-3F3D-403A-961D-13C07039E9B0}" srcOrd="0" destOrd="1" presId="urn:microsoft.com/office/officeart/2005/8/layout/list1"/>
    <dgm:cxn modelId="{F3305523-E887-4ADD-B3A3-026676B587C0}" type="presOf" srcId="{27396538-A37D-4ECB-BB14-8AD76E4062A0}" destId="{CBB1E781-DE63-4A1D-A8BA-7FF176D08F9E}" srcOrd="0" destOrd="0" presId="urn:microsoft.com/office/officeart/2005/8/layout/list1"/>
    <dgm:cxn modelId="{45A96E76-8B71-4216-B3C0-C840D59D8D39}" type="presOf" srcId="{80A78A86-E726-463E-80AE-5E27526C70C0}" destId="{0D4348BF-27F7-41EE-A0BF-C63A15D88782}" srcOrd="1" destOrd="0" presId="urn:microsoft.com/office/officeart/2005/8/layout/list1"/>
    <dgm:cxn modelId="{3C8AE351-9A13-467F-99E4-97CFADB13A31}" type="presParOf" srcId="{CBB1E781-DE63-4A1D-A8BA-7FF176D08F9E}" destId="{E0E21CA8-45AD-4EB1-B165-7D92CA705FEB}" srcOrd="0" destOrd="0" presId="urn:microsoft.com/office/officeart/2005/8/layout/list1"/>
    <dgm:cxn modelId="{F13839CB-5935-4456-9AAD-92F620E8C2AF}" type="presParOf" srcId="{E0E21CA8-45AD-4EB1-B165-7D92CA705FEB}" destId="{1D25F187-BAF6-47BD-9180-F18CB0D9E2A4}" srcOrd="0" destOrd="0" presId="urn:microsoft.com/office/officeart/2005/8/layout/list1"/>
    <dgm:cxn modelId="{F8E1A3BE-97DE-4E3A-A7AC-E79683C5341C}" type="presParOf" srcId="{E0E21CA8-45AD-4EB1-B165-7D92CA705FEB}" destId="{A885F1C4-6277-4D36-9C9E-2DE3B4954362}" srcOrd="1" destOrd="0" presId="urn:microsoft.com/office/officeart/2005/8/layout/list1"/>
    <dgm:cxn modelId="{F53CCCEA-1A36-4C94-AC8B-435F1A2CC49B}" type="presParOf" srcId="{CBB1E781-DE63-4A1D-A8BA-7FF176D08F9E}" destId="{619DE6C5-A067-4906-A45A-5AC897231E8A}" srcOrd="1" destOrd="0" presId="urn:microsoft.com/office/officeart/2005/8/layout/list1"/>
    <dgm:cxn modelId="{4B4F031E-9818-43DA-8410-FB00BEF1A034}" type="presParOf" srcId="{CBB1E781-DE63-4A1D-A8BA-7FF176D08F9E}" destId="{3F73B4CD-125E-4222-A526-C7F55D6815E8}" srcOrd="2" destOrd="0" presId="urn:microsoft.com/office/officeart/2005/8/layout/list1"/>
    <dgm:cxn modelId="{3CD7F66C-3587-405D-9D9A-A5D3D76420D2}" type="presParOf" srcId="{CBB1E781-DE63-4A1D-A8BA-7FF176D08F9E}" destId="{2FA97EA3-72A1-4C2D-B987-C0C20FC07DF1}" srcOrd="3" destOrd="0" presId="urn:microsoft.com/office/officeart/2005/8/layout/list1"/>
    <dgm:cxn modelId="{E00ADB5E-7631-4861-84D2-4097BC48676E}" type="presParOf" srcId="{CBB1E781-DE63-4A1D-A8BA-7FF176D08F9E}" destId="{50A79482-01A7-42FD-A085-F87DCD2CADFA}" srcOrd="4" destOrd="0" presId="urn:microsoft.com/office/officeart/2005/8/layout/list1"/>
    <dgm:cxn modelId="{8674E6A8-82A6-4158-AED9-ED756331E0EF}" type="presParOf" srcId="{50A79482-01A7-42FD-A085-F87DCD2CADFA}" destId="{94373543-CD75-4AAA-B430-D0FFC3105EE9}" srcOrd="0" destOrd="0" presId="urn:microsoft.com/office/officeart/2005/8/layout/list1"/>
    <dgm:cxn modelId="{9CACA47F-3F8A-4C4D-BF89-52D09C2810B6}" type="presParOf" srcId="{50A79482-01A7-42FD-A085-F87DCD2CADFA}" destId="{D87DF3E9-7EDE-43FA-8C2D-D316A26B1E8F}" srcOrd="1" destOrd="0" presId="urn:microsoft.com/office/officeart/2005/8/layout/list1"/>
    <dgm:cxn modelId="{08B0FC35-FCE0-45B6-88E7-DDB0617CECFF}" type="presParOf" srcId="{CBB1E781-DE63-4A1D-A8BA-7FF176D08F9E}" destId="{47CB4DFC-2ABD-47AA-A8FE-79618B6E756A}" srcOrd="5" destOrd="0" presId="urn:microsoft.com/office/officeart/2005/8/layout/list1"/>
    <dgm:cxn modelId="{529DF6FB-E835-49D3-A7EA-0D5BA5227537}" type="presParOf" srcId="{CBB1E781-DE63-4A1D-A8BA-7FF176D08F9E}" destId="{970CDC8F-3F3D-403A-961D-13C07039E9B0}" srcOrd="6" destOrd="0" presId="urn:microsoft.com/office/officeart/2005/8/layout/list1"/>
    <dgm:cxn modelId="{B5B98D8E-713B-47D7-AD24-096279F257E3}" type="presParOf" srcId="{CBB1E781-DE63-4A1D-A8BA-7FF176D08F9E}" destId="{26F85C1B-8B57-4FE9-BCD8-75D829ECA3F0}" srcOrd="7" destOrd="0" presId="urn:microsoft.com/office/officeart/2005/8/layout/list1"/>
    <dgm:cxn modelId="{9876EE2A-11CA-4E55-B387-EB085695AFB3}" type="presParOf" srcId="{CBB1E781-DE63-4A1D-A8BA-7FF176D08F9E}" destId="{F4B3F9AB-9879-4834-93E1-9F5CD5036687}" srcOrd="8" destOrd="0" presId="urn:microsoft.com/office/officeart/2005/8/layout/list1"/>
    <dgm:cxn modelId="{A7564518-755D-400C-97F1-0272CF9AEC37}" type="presParOf" srcId="{F4B3F9AB-9879-4834-93E1-9F5CD5036687}" destId="{9426BC1A-C9DB-4879-84A9-C782149CC6B9}" srcOrd="0" destOrd="0" presId="urn:microsoft.com/office/officeart/2005/8/layout/list1"/>
    <dgm:cxn modelId="{B2AC3FE9-F311-4C3E-A12F-B4269177F7C4}" type="presParOf" srcId="{F4B3F9AB-9879-4834-93E1-9F5CD5036687}" destId="{0D4348BF-27F7-41EE-A0BF-C63A15D88782}" srcOrd="1" destOrd="0" presId="urn:microsoft.com/office/officeart/2005/8/layout/list1"/>
    <dgm:cxn modelId="{FA4F934D-13D2-47C2-9E57-BAD7BDDB8F9B}" type="presParOf" srcId="{CBB1E781-DE63-4A1D-A8BA-7FF176D08F9E}" destId="{DF950FFB-0713-4708-85C6-C35B4F4EF05E}" srcOrd="9" destOrd="0" presId="urn:microsoft.com/office/officeart/2005/8/layout/list1"/>
    <dgm:cxn modelId="{1712F8CD-A39C-41FB-91B2-24D941CFB9FC}" type="presParOf" srcId="{CBB1E781-DE63-4A1D-A8BA-7FF176D08F9E}" destId="{C39C504B-DE52-479D-9D6A-A35A34C5A134}" srcOrd="10" destOrd="0" presId="urn:microsoft.com/office/officeart/2005/8/layout/list1"/>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6DFCDD-03B0-442F-9FA9-1D5898D5A014}" type="doc">
      <dgm:prSet loTypeId="urn:microsoft.com/office/officeart/2005/8/layout/process3" loCatId="process" qsTypeId="urn:microsoft.com/office/officeart/2005/8/quickstyle/simple1" qsCatId="simple" csTypeId="urn:microsoft.com/office/officeart/2005/8/colors/accent0_2" csCatId="mainScheme" phldr="1"/>
      <dgm:spPr/>
      <dgm:t>
        <a:bodyPr/>
        <a:lstStyle/>
        <a:p>
          <a:endParaRPr lang="de-DE"/>
        </a:p>
      </dgm:t>
    </dgm:pt>
    <dgm:pt modelId="{3B74857E-F155-43E0-9562-C54F50545BA1}">
      <dgm:prSet phldrT="[Text]" custT="1"/>
      <dgm:spPr>
        <a:solidFill>
          <a:schemeClr val="accent4"/>
        </a:solidFill>
      </dgm:spPr>
      <dgm:t>
        <a:bodyPr/>
        <a:lstStyle/>
        <a:p>
          <a:r>
            <a:rPr lang="de-DE" sz="1400" b="1" dirty="0" smtClean="0">
              <a:solidFill>
                <a:schemeClr val="bg1"/>
              </a:solidFill>
            </a:rPr>
            <a:t>ONE</a:t>
          </a:r>
          <a:endParaRPr lang="de-DE" sz="1400" b="1" dirty="0">
            <a:solidFill>
              <a:schemeClr val="bg1"/>
            </a:solidFill>
          </a:endParaRPr>
        </a:p>
      </dgm:t>
    </dgm:pt>
    <dgm:pt modelId="{986C5839-1E2A-474F-909D-3B397BECE21B}" type="parTrans" cxnId="{D932903A-C4BD-4281-B504-35D549584804}">
      <dgm:prSet/>
      <dgm:spPr/>
      <dgm:t>
        <a:bodyPr/>
        <a:lstStyle/>
        <a:p>
          <a:endParaRPr lang="de-DE"/>
        </a:p>
      </dgm:t>
    </dgm:pt>
    <dgm:pt modelId="{704FCE76-4951-432B-99C1-C688B024BA3C}" type="sibTrans" cxnId="{D932903A-C4BD-4281-B504-35D549584804}">
      <dgm:prSet/>
      <dgm:spPr/>
      <dgm:t>
        <a:bodyPr/>
        <a:lstStyle/>
        <a:p>
          <a:endParaRPr lang="de-DE"/>
        </a:p>
      </dgm:t>
    </dgm:pt>
    <dgm:pt modelId="{F904B1A7-4F68-4EC6-8235-2D4C6D94F973}">
      <dgm:prSet phldrT="[Text]"/>
      <dgm:spPr/>
      <dgm:t>
        <a:bodyPr/>
        <a:lstStyle/>
        <a:p>
          <a:r>
            <a:rPr lang="en-US" noProof="0" dirty="0" smtClean="0">
              <a:solidFill>
                <a:schemeClr val="tx1"/>
              </a:solidFill>
            </a:rPr>
            <a:t>Provide clear view on </a:t>
          </a:r>
          <a:r>
            <a:rPr lang="en-US" noProof="0" dirty="0" err="1" smtClean="0">
              <a:solidFill>
                <a:schemeClr val="tx1"/>
              </a:solidFill>
            </a:rPr>
            <a:t>regulatories</a:t>
          </a:r>
          <a:endParaRPr lang="en-US" noProof="0" dirty="0">
            <a:solidFill>
              <a:schemeClr val="tx1"/>
            </a:solidFill>
          </a:endParaRPr>
        </a:p>
      </dgm:t>
    </dgm:pt>
    <dgm:pt modelId="{340F2935-AF18-4467-BA79-9EBC37931B7D}" type="parTrans" cxnId="{6B9E6D7F-DB94-4D22-89D7-89A93BDC6F1B}">
      <dgm:prSet/>
      <dgm:spPr/>
      <dgm:t>
        <a:bodyPr/>
        <a:lstStyle/>
        <a:p>
          <a:endParaRPr lang="de-DE"/>
        </a:p>
      </dgm:t>
    </dgm:pt>
    <dgm:pt modelId="{0821C39B-7144-4FD9-A049-1605DD280F8F}" type="sibTrans" cxnId="{6B9E6D7F-DB94-4D22-89D7-89A93BDC6F1B}">
      <dgm:prSet/>
      <dgm:spPr/>
      <dgm:t>
        <a:bodyPr/>
        <a:lstStyle/>
        <a:p>
          <a:endParaRPr lang="de-DE"/>
        </a:p>
      </dgm:t>
    </dgm:pt>
    <dgm:pt modelId="{53C7DD31-4393-492D-8F55-A8C421A83694}">
      <dgm:prSet phldrT="[Text]" custT="1"/>
      <dgm:spPr>
        <a:solidFill>
          <a:schemeClr val="accent4"/>
        </a:solidFill>
      </dgm:spPr>
      <dgm:t>
        <a:bodyPr/>
        <a:lstStyle/>
        <a:p>
          <a:r>
            <a:rPr lang="de-DE" sz="1400" b="1" dirty="0" smtClean="0">
              <a:solidFill>
                <a:schemeClr val="bg1"/>
              </a:solidFill>
            </a:rPr>
            <a:t>PQM</a:t>
          </a:r>
          <a:endParaRPr lang="de-DE" sz="1400" b="1" dirty="0">
            <a:solidFill>
              <a:schemeClr val="bg1"/>
            </a:solidFill>
          </a:endParaRPr>
        </a:p>
      </dgm:t>
    </dgm:pt>
    <dgm:pt modelId="{DC69CCA4-2EDA-46BD-95B4-8E2EFF37A239}" type="parTrans" cxnId="{E4274D2A-5756-427A-A13A-A2B20A135D0C}">
      <dgm:prSet/>
      <dgm:spPr/>
      <dgm:t>
        <a:bodyPr/>
        <a:lstStyle/>
        <a:p>
          <a:endParaRPr lang="de-DE"/>
        </a:p>
      </dgm:t>
    </dgm:pt>
    <dgm:pt modelId="{1F236EAF-5EE8-46CF-919F-385EDE8B7A1B}" type="sibTrans" cxnId="{E4274D2A-5756-427A-A13A-A2B20A135D0C}">
      <dgm:prSet/>
      <dgm:spPr/>
      <dgm:t>
        <a:bodyPr/>
        <a:lstStyle/>
        <a:p>
          <a:endParaRPr lang="de-DE"/>
        </a:p>
      </dgm:t>
    </dgm:pt>
    <dgm:pt modelId="{E12BEF0F-9D72-432D-A0F8-6F74F923D1C2}">
      <dgm:prSet phldrT="[Text]"/>
      <dgm:spPr/>
      <dgm:t>
        <a:bodyPr/>
        <a:lstStyle/>
        <a:p>
          <a:r>
            <a:rPr lang="en-US" noProof="0" dirty="0" smtClean="0">
              <a:solidFill>
                <a:schemeClr val="tx1"/>
              </a:solidFill>
            </a:rPr>
            <a:t>Project Owner / Progress Tracking</a:t>
          </a:r>
          <a:endParaRPr lang="en-US" noProof="0" dirty="0">
            <a:solidFill>
              <a:schemeClr val="tx1"/>
            </a:solidFill>
          </a:endParaRPr>
        </a:p>
      </dgm:t>
    </dgm:pt>
    <dgm:pt modelId="{4DE5E26E-42D3-47AA-8569-A5A11251AFCE}" type="parTrans" cxnId="{E702718F-B5D7-4723-A67C-7785C27D1947}">
      <dgm:prSet/>
      <dgm:spPr/>
      <dgm:t>
        <a:bodyPr/>
        <a:lstStyle/>
        <a:p>
          <a:endParaRPr lang="de-DE"/>
        </a:p>
      </dgm:t>
    </dgm:pt>
    <dgm:pt modelId="{339F69D6-79D9-4507-8FCD-5F26F6850CB2}" type="sibTrans" cxnId="{E702718F-B5D7-4723-A67C-7785C27D1947}">
      <dgm:prSet/>
      <dgm:spPr/>
      <dgm:t>
        <a:bodyPr/>
        <a:lstStyle/>
        <a:p>
          <a:endParaRPr lang="de-DE"/>
        </a:p>
      </dgm:t>
    </dgm:pt>
    <dgm:pt modelId="{215F9FE3-25C1-4C9F-8D38-5EF7512D8E67}">
      <dgm:prSet phldrT="[Text]" custT="1"/>
      <dgm:spPr>
        <a:solidFill>
          <a:schemeClr val="accent4"/>
        </a:solidFill>
      </dgm:spPr>
      <dgm:t>
        <a:bodyPr/>
        <a:lstStyle/>
        <a:p>
          <a:r>
            <a:rPr lang="de-DE" sz="1400" b="1" dirty="0" smtClean="0">
              <a:solidFill>
                <a:schemeClr val="bg1"/>
              </a:solidFill>
            </a:rPr>
            <a:t>SP</a:t>
          </a:r>
          <a:endParaRPr lang="de-DE" sz="1400" b="1" dirty="0">
            <a:solidFill>
              <a:schemeClr val="bg1"/>
            </a:solidFill>
          </a:endParaRPr>
        </a:p>
      </dgm:t>
    </dgm:pt>
    <dgm:pt modelId="{3B676621-8F2F-47FD-AECB-B63B2844B786}" type="parTrans" cxnId="{40DB659C-215E-4A07-8F34-23876F9F6324}">
      <dgm:prSet/>
      <dgm:spPr/>
      <dgm:t>
        <a:bodyPr/>
        <a:lstStyle/>
        <a:p>
          <a:endParaRPr lang="de-DE"/>
        </a:p>
      </dgm:t>
    </dgm:pt>
    <dgm:pt modelId="{E3E7ED0D-1488-4A53-9FD0-1269B0C3A0BD}" type="sibTrans" cxnId="{40DB659C-215E-4A07-8F34-23876F9F6324}">
      <dgm:prSet/>
      <dgm:spPr/>
      <dgm:t>
        <a:bodyPr/>
        <a:lstStyle/>
        <a:p>
          <a:endParaRPr lang="de-DE"/>
        </a:p>
      </dgm:t>
    </dgm:pt>
    <dgm:pt modelId="{F72B12EE-124A-42A7-B92A-A1C04DA39A48}">
      <dgm:prSet phldrT="[Text]"/>
      <dgm:spPr/>
      <dgm:t>
        <a:bodyPr/>
        <a:lstStyle/>
        <a:p>
          <a:r>
            <a:rPr lang="en-US" noProof="0" dirty="0" smtClean="0">
              <a:solidFill>
                <a:schemeClr val="tx1"/>
              </a:solidFill>
            </a:rPr>
            <a:t>Professional Project Management </a:t>
          </a:r>
          <a:r>
            <a:rPr lang="en-US" noProof="0" dirty="0" err="1" smtClean="0">
              <a:solidFill>
                <a:schemeClr val="tx1"/>
              </a:solidFill>
            </a:rPr>
            <a:t>behaviour</a:t>
          </a:r>
          <a:endParaRPr lang="en-US" noProof="0" dirty="0">
            <a:solidFill>
              <a:schemeClr val="tx1"/>
            </a:solidFill>
          </a:endParaRPr>
        </a:p>
      </dgm:t>
    </dgm:pt>
    <dgm:pt modelId="{44876802-26A8-42BC-8237-902BE9EA95C2}" type="parTrans" cxnId="{10A3A79D-EECD-400C-A6A0-1D0D0BB95289}">
      <dgm:prSet/>
      <dgm:spPr/>
      <dgm:t>
        <a:bodyPr/>
        <a:lstStyle/>
        <a:p>
          <a:endParaRPr lang="de-DE"/>
        </a:p>
      </dgm:t>
    </dgm:pt>
    <dgm:pt modelId="{F79E1C83-160A-44EE-B27A-9F22966B8BB4}" type="sibTrans" cxnId="{10A3A79D-EECD-400C-A6A0-1D0D0BB95289}">
      <dgm:prSet/>
      <dgm:spPr/>
      <dgm:t>
        <a:bodyPr/>
        <a:lstStyle/>
        <a:p>
          <a:endParaRPr lang="de-DE"/>
        </a:p>
      </dgm:t>
    </dgm:pt>
    <dgm:pt modelId="{5E24D6B0-0A56-4A05-B41B-EEDC9F8B6B1A}">
      <dgm:prSet phldrT="[Text]"/>
      <dgm:spPr/>
      <dgm:t>
        <a:bodyPr/>
        <a:lstStyle/>
        <a:p>
          <a:r>
            <a:rPr lang="en-US" noProof="0" dirty="0" smtClean="0">
              <a:solidFill>
                <a:schemeClr val="tx1"/>
              </a:solidFill>
            </a:rPr>
            <a:t>Ensure secure contracts</a:t>
          </a:r>
          <a:endParaRPr lang="en-US" noProof="0" dirty="0">
            <a:solidFill>
              <a:schemeClr val="tx1"/>
            </a:solidFill>
          </a:endParaRPr>
        </a:p>
      </dgm:t>
    </dgm:pt>
    <dgm:pt modelId="{CE159B9C-5F3A-4507-B6F7-91AEBEFC420D}" type="parTrans" cxnId="{08407FA1-F8F8-4662-A9D8-EC5A2E3723D6}">
      <dgm:prSet/>
      <dgm:spPr/>
      <dgm:t>
        <a:bodyPr/>
        <a:lstStyle/>
        <a:p>
          <a:endParaRPr lang="de-DE"/>
        </a:p>
      </dgm:t>
    </dgm:pt>
    <dgm:pt modelId="{41162D4B-C3FB-42E0-A16D-7A6BD1C840A4}" type="sibTrans" cxnId="{08407FA1-F8F8-4662-A9D8-EC5A2E3723D6}">
      <dgm:prSet/>
      <dgm:spPr/>
      <dgm:t>
        <a:bodyPr/>
        <a:lstStyle/>
        <a:p>
          <a:endParaRPr lang="de-DE"/>
        </a:p>
      </dgm:t>
    </dgm:pt>
    <dgm:pt modelId="{C740442F-3860-413B-98BE-1873A6467A06}">
      <dgm:prSet phldrT="[Text]"/>
      <dgm:spPr/>
      <dgm:t>
        <a:bodyPr/>
        <a:lstStyle/>
        <a:p>
          <a:r>
            <a:rPr lang="en-US" noProof="0" dirty="0" smtClean="0">
              <a:solidFill>
                <a:schemeClr val="tx1"/>
              </a:solidFill>
            </a:rPr>
            <a:t>Release payments</a:t>
          </a:r>
          <a:endParaRPr lang="en-US" noProof="0" dirty="0">
            <a:solidFill>
              <a:schemeClr val="tx1"/>
            </a:solidFill>
          </a:endParaRPr>
        </a:p>
      </dgm:t>
    </dgm:pt>
    <dgm:pt modelId="{DFEB0855-29AD-4FBD-B710-29F7EEFA007D}" type="parTrans" cxnId="{9FE87D02-A6F3-4DFE-A523-FAE86056AE08}">
      <dgm:prSet/>
      <dgm:spPr/>
      <dgm:t>
        <a:bodyPr/>
        <a:lstStyle/>
        <a:p>
          <a:endParaRPr lang="de-DE"/>
        </a:p>
      </dgm:t>
    </dgm:pt>
    <dgm:pt modelId="{B605FC7D-659F-4FAD-B370-2B72B9F7653E}" type="sibTrans" cxnId="{9FE87D02-A6F3-4DFE-A523-FAE86056AE08}">
      <dgm:prSet/>
      <dgm:spPr/>
      <dgm:t>
        <a:bodyPr/>
        <a:lstStyle/>
        <a:p>
          <a:endParaRPr lang="de-DE"/>
        </a:p>
      </dgm:t>
    </dgm:pt>
    <dgm:pt modelId="{5DD5DAF2-2B60-4157-B08B-CB62BC54EBB8}">
      <dgm:prSet phldrT="[Text]"/>
      <dgm:spPr/>
      <dgm:t>
        <a:bodyPr/>
        <a:lstStyle/>
        <a:p>
          <a:r>
            <a:rPr lang="en-US" noProof="0" dirty="0" smtClean="0">
              <a:solidFill>
                <a:schemeClr val="tx1"/>
              </a:solidFill>
            </a:rPr>
            <a:t>Part of Steering Committee</a:t>
          </a:r>
          <a:endParaRPr lang="en-US" noProof="0" dirty="0">
            <a:solidFill>
              <a:schemeClr val="tx1"/>
            </a:solidFill>
          </a:endParaRPr>
        </a:p>
      </dgm:t>
    </dgm:pt>
    <dgm:pt modelId="{A62C71D9-8218-42E7-9059-DA3CEA72A308}" type="parTrans" cxnId="{AC71F5B7-3CD1-4D7B-B8BA-DBCA92C26677}">
      <dgm:prSet/>
      <dgm:spPr/>
      <dgm:t>
        <a:bodyPr/>
        <a:lstStyle/>
        <a:p>
          <a:endParaRPr lang="de-DE"/>
        </a:p>
      </dgm:t>
    </dgm:pt>
    <dgm:pt modelId="{7F10764C-D3BD-453F-B044-E753B3BA7E91}" type="sibTrans" cxnId="{AC71F5B7-3CD1-4D7B-B8BA-DBCA92C26677}">
      <dgm:prSet/>
      <dgm:spPr/>
      <dgm:t>
        <a:bodyPr/>
        <a:lstStyle/>
        <a:p>
          <a:endParaRPr lang="de-DE"/>
        </a:p>
      </dgm:t>
    </dgm:pt>
    <dgm:pt modelId="{4F4356F1-3387-4B2F-A2B9-B55DD4B2584B}">
      <dgm:prSet phldrT="[Text]"/>
      <dgm:spPr/>
      <dgm:t>
        <a:bodyPr/>
        <a:lstStyle/>
        <a:p>
          <a:r>
            <a:rPr lang="en-US" noProof="0" smtClean="0">
              <a:solidFill>
                <a:schemeClr val="tx1"/>
              </a:solidFill>
            </a:rPr>
            <a:t>Release and approval of deliverables</a:t>
          </a:r>
          <a:endParaRPr lang="en-US" noProof="0">
            <a:solidFill>
              <a:schemeClr val="tx1"/>
            </a:solidFill>
          </a:endParaRPr>
        </a:p>
      </dgm:t>
    </dgm:pt>
    <dgm:pt modelId="{9567D4EE-C7DB-4A1F-9820-D5CBE6555B14}" type="parTrans" cxnId="{C1445D93-AEC3-4F87-AB8D-B16D94F5EB0A}">
      <dgm:prSet/>
      <dgm:spPr/>
      <dgm:t>
        <a:bodyPr/>
        <a:lstStyle/>
        <a:p>
          <a:endParaRPr lang="de-DE"/>
        </a:p>
      </dgm:t>
    </dgm:pt>
    <dgm:pt modelId="{28341BC8-42E0-4114-86B5-A2AD2756EC1C}" type="sibTrans" cxnId="{C1445D93-AEC3-4F87-AB8D-B16D94F5EB0A}">
      <dgm:prSet/>
      <dgm:spPr/>
      <dgm:t>
        <a:bodyPr/>
        <a:lstStyle/>
        <a:p>
          <a:endParaRPr lang="de-DE"/>
        </a:p>
      </dgm:t>
    </dgm:pt>
    <dgm:pt modelId="{F93B00D0-FA4D-474F-86E7-7210DEFAD0DE}">
      <dgm:prSet phldrT="[Text]"/>
      <dgm:spPr/>
      <dgm:t>
        <a:bodyPr/>
        <a:lstStyle/>
        <a:p>
          <a:r>
            <a:rPr lang="en-US" noProof="0" smtClean="0">
              <a:solidFill>
                <a:schemeClr val="tx1"/>
              </a:solidFill>
            </a:rPr>
            <a:t>Gate Keeper and first instance of tests </a:t>
          </a:r>
          <a:endParaRPr lang="en-US" noProof="0">
            <a:solidFill>
              <a:schemeClr val="tx1"/>
            </a:solidFill>
          </a:endParaRPr>
        </a:p>
      </dgm:t>
    </dgm:pt>
    <dgm:pt modelId="{D4922E47-CB3C-4E44-B4CA-2349FB8F03F3}" type="parTrans" cxnId="{0177130C-9C1E-4B0A-87D5-CF2390F7374F}">
      <dgm:prSet/>
      <dgm:spPr/>
      <dgm:t>
        <a:bodyPr/>
        <a:lstStyle/>
        <a:p>
          <a:endParaRPr lang="de-DE"/>
        </a:p>
      </dgm:t>
    </dgm:pt>
    <dgm:pt modelId="{E685BCD9-23D5-4BCF-9EFC-14F3A93E615F}" type="sibTrans" cxnId="{0177130C-9C1E-4B0A-87D5-CF2390F7374F}">
      <dgm:prSet/>
      <dgm:spPr/>
      <dgm:t>
        <a:bodyPr/>
        <a:lstStyle/>
        <a:p>
          <a:endParaRPr lang="de-DE"/>
        </a:p>
      </dgm:t>
    </dgm:pt>
    <dgm:pt modelId="{A35718A1-CA76-4237-BA11-C55B18DCDDE9}">
      <dgm:prSet phldrT="[Text]"/>
      <dgm:spPr/>
      <dgm:t>
        <a:bodyPr/>
        <a:lstStyle/>
        <a:p>
          <a:r>
            <a:rPr lang="en-US" noProof="0" smtClean="0">
              <a:solidFill>
                <a:schemeClr val="tx1"/>
              </a:solidFill>
            </a:rPr>
            <a:t>First level support for SPs</a:t>
          </a:r>
          <a:endParaRPr lang="en-US" noProof="0">
            <a:solidFill>
              <a:schemeClr val="tx1"/>
            </a:solidFill>
          </a:endParaRPr>
        </a:p>
      </dgm:t>
    </dgm:pt>
    <dgm:pt modelId="{3F1C4E87-D37A-4E5E-84E0-116076F25683}" type="parTrans" cxnId="{AD00BE50-118F-419F-9F8F-12A9C4CCCF36}">
      <dgm:prSet/>
      <dgm:spPr/>
      <dgm:t>
        <a:bodyPr/>
        <a:lstStyle/>
        <a:p>
          <a:endParaRPr lang="de-DE"/>
        </a:p>
      </dgm:t>
    </dgm:pt>
    <dgm:pt modelId="{6DF1B860-80B5-403D-A2B2-7BFDFFB1DD2F}" type="sibTrans" cxnId="{AD00BE50-118F-419F-9F8F-12A9C4CCCF36}">
      <dgm:prSet/>
      <dgm:spPr/>
      <dgm:t>
        <a:bodyPr/>
        <a:lstStyle/>
        <a:p>
          <a:endParaRPr lang="de-DE"/>
        </a:p>
      </dgm:t>
    </dgm:pt>
    <dgm:pt modelId="{B45BE121-B372-47B2-B4A9-6E5CB8BB9F04}">
      <dgm:prSet phldrT="[Text]"/>
      <dgm:spPr/>
      <dgm:t>
        <a:bodyPr/>
        <a:lstStyle/>
        <a:p>
          <a:r>
            <a:rPr lang="en-US" noProof="0" smtClean="0">
              <a:solidFill>
                <a:schemeClr val="tx1"/>
              </a:solidFill>
            </a:rPr>
            <a:t>Provide clear specifications and requirements</a:t>
          </a:r>
          <a:endParaRPr lang="en-US" noProof="0">
            <a:solidFill>
              <a:schemeClr val="tx1"/>
            </a:solidFill>
          </a:endParaRPr>
        </a:p>
      </dgm:t>
    </dgm:pt>
    <dgm:pt modelId="{71720714-5AD3-4CD2-82D1-E5F5C3B2D367}" type="parTrans" cxnId="{9FA5E56D-3340-435E-A429-56268AE3A916}">
      <dgm:prSet/>
      <dgm:spPr/>
      <dgm:t>
        <a:bodyPr/>
        <a:lstStyle/>
        <a:p>
          <a:endParaRPr lang="de-DE"/>
        </a:p>
      </dgm:t>
    </dgm:pt>
    <dgm:pt modelId="{9D6568BB-8007-4C99-9474-2434EDA13062}" type="sibTrans" cxnId="{9FA5E56D-3340-435E-A429-56268AE3A916}">
      <dgm:prSet/>
      <dgm:spPr/>
      <dgm:t>
        <a:bodyPr/>
        <a:lstStyle/>
        <a:p>
          <a:endParaRPr lang="de-DE"/>
        </a:p>
      </dgm:t>
    </dgm:pt>
    <dgm:pt modelId="{62262F3A-46E9-4D60-9D9B-B326D5670083}">
      <dgm:prSet phldrT="[Text]"/>
      <dgm:spPr/>
      <dgm:t>
        <a:bodyPr/>
        <a:lstStyle/>
        <a:p>
          <a:r>
            <a:rPr lang="en-US" noProof="0" smtClean="0">
              <a:solidFill>
                <a:schemeClr val="tx1"/>
              </a:solidFill>
            </a:rPr>
            <a:t>Provides project plans</a:t>
          </a:r>
          <a:endParaRPr lang="en-US" noProof="0">
            <a:solidFill>
              <a:schemeClr val="tx1"/>
            </a:solidFill>
          </a:endParaRPr>
        </a:p>
      </dgm:t>
    </dgm:pt>
    <dgm:pt modelId="{2224E435-9323-4E17-A452-24A2863FE10B}" type="parTrans" cxnId="{0642D9DA-2E5D-4668-8BA7-8B1A097F7080}">
      <dgm:prSet/>
      <dgm:spPr/>
      <dgm:t>
        <a:bodyPr/>
        <a:lstStyle/>
        <a:p>
          <a:endParaRPr lang="de-DE"/>
        </a:p>
      </dgm:t>
    </dgm:pt>
    <dgm:pt modelId="{C139D6FE-D61A-4A3F-BFDF-5D5225C02078}" type="sibTrans" cxnId="{0642D9DA-2E5D-4668-8BA7-8B1A097F7080}">
      <dgm:prSet/>
      <dgm:spPr/>
      <dgm:t>
        <a:bodyPr/>
        <a:lstStyle/>
        <a:p>
          <a:endParaRPr lang="de-DE"/>
        </a:p>
      </dgm:t>
    </dgm:pt>
    <dgm:pt modelId="{BF682A5C-6E85-4F12-B071-BEA30729EC73}">
      <dgm:prSet phldrT="[Text]"/>
      <dgm:spPr/>
      <dgm:t>
        <a:bodyPr/>
        <a:lstStyle/>
        <a:p>
          <a:r>
            <a:rPr lang="en-US" noProof="0" smtClean="0">
              <a:solidFill>
                <a:schemeClr val="tx1"/>
              </a:solidFill>
            </a:rPr>
            <a:t>Provide a clear communication guideline</a:t>
          </a:r>
          <a:endParaRPr lang="en-US" noProof="0">
            <a:solidFill>
              <a:schemeClr val="tx1"/>
            </a:solidFill>
          </a:endParaRPr>
        </a:p>
      </dgm:t>
    </dgm:pt>
    <dgm:pt modelId="{FC6212AF-CA63-4DE4-8B23-C0E94073988D}" type="parTrans" cxnId="{B672B813-E57C-42F2-95F5-0DD5A8E8C361}">
      <dgm:prSet/>
      <dgm:spPr/>
      <dgm:t>
        <a:bodyPr/>
        <a:lstStyle/>
        <a:p>
          <a:endParaRPr lang="de-DE"/>
        </a:p>
      </dgm:t>
    </dgm:pt>
    <dgm:pt modelId="{6C410F28-43AA-497E-B8F6-95B455EF9EB9}" type="sibTrans" cxnId="{B672B813-E57C-42F2-95F5-0DD5A8E8C361}">
      <dgm:prSet/>
      <dgm:spPr/>
      <dgm:t>
        <a:bodyPr/>
        <a:lstStyle/>
        <a:p>
          <a:endParaRPr lang="de-DE"/>
        </a:p>
      </dgm:t>
    </dgm:pt>
    <dgm:pt modelId="{24A0CBCC-4820-4AA8-B880-9B63171A91E9}">
      <dgm:prSet phldrT="[Text]"/>
      <dgm:spPr/>
      <dgm:t>
        <a:bodyPr/>
        <a:lstStyle/>
        <a:p>
          <a:r>
            <a:rPr lang="en-US" noProof="0" smtClean="0">
              <a:solidFill>
                <a:schemeClr val="tx1"/>
              </a:solidFill>
            </a:rPr>
            <a:t>Fulfill requirements on time</a:t>
          </a:r>
          <a:endParaRPr lang="en-US" noProof="0">
            <a:solidFill>
              <a:schemeClr val="tx1"/>
            </a:solidFill>
          </a:endParaRPr>
        </a:p>
      </dgm:t>
    </dgm:pt>
    <dgm:pt modelId="{F849FA68-9B67-4FC2-9D5B-864B4D049B2F}" type="parTrans" cxnId="{3D8287F6-FB34-43AA-A53D-5D2484EFC9DE}">
      <dgm:prSet/>
      <dgm:spPr/>
      <dgm:t>
        <a:bodyPr/>
        <a:lstStyle/>
        <a:p>
          <a:endParaRPr lang="de-DE"/>
        </a:p>
      </dgm:t>
    </dgm:pt>
    <dgm:pt modelId="{076287CE-30FF-494B-ADB7-7AD7B2601D5C}" type="sibTrans" cxnId="{3D8287F6-FB34-43AA-A53D-5D2484EFC9DE}">
      <dgm:prSet/>
      <dgm:spPr/>
      <dgm:t>
        <a:bodyPr/>
        <a:lstStyle/>
        <a:p>
          <a:endParaRPr lang="de-DE"/>
        </a:p>
      </dgm:t>
    </dgm:pt>
    <dgm:pt modelId="{DAB3C87E-7002-4528-92E5-252FEDC386CE}">
      <dgm:prSet phldrT="[Text]"/>
      <dgm:spPr/>
      <dgm:t>
        <a:bodyPr/>
        <a:lstStyle/>
        <a:p>
          <a:r>
            <a:rPr lang="en-US" noProof="0" smtClean="0">
              <a:solidFill>
                <a:schemeClr val="tx1"/>
              </a:solidFill>
            </a:rPr>
            <a:t>Pro active support by obstacles and challenages during the developing phase</a:t>
          </a:r>
          <a:endParaRPr lang="en-US" noProof="0">
            <a:solidFill>
              <a:schemeClr val="tx1"/>
            </a:solidFill>
          </a:endParaRPr>
        </a:p>
      </dgm:t>
    </dgm:pt>
    <dgm:pt modelId="{9196C054-F904-4D5C-94A8-72355B4CEEF2}" type="parTrans" cxnId="{F07657B2-D1DE-4FAF-9D18-0772D96E7058}">
      <dgm:prSet/>
      <dgm:spPr/>
      <dgm:t>
        <a:bodyPr/>
        <a:lstStyle/>
        <a:p>
          <a:endParaRPr lang="de-DE"/>
        </a:p>
      </dgm:t>
    </dgm:pt>
    <dgm:pt modelId="{2061C309-0DD4-4937-B807-2EB42C71DB73}" type="sibTrans" cxnId="{F07657B2-D1DE-4FAF-9D18-0772D96E7058}">
      <dgm:prSet/>
      <dgm:spPr/>
      <dgm:t>
        <a:bodyPr/>
        <a:lstStyle/>
        <a:p>
          <a:endParaRPr lang="de-DE"/>
        </a:p>
      </dgm:t>
    </dgm:pt>
    <dgm:pt modelId="{D8564AF7-4CE4-4610-8202-FE13754BEA57}">
      <dgm:prSet phldrT="[Text]"/>
      <dgm:spPr/>
      <dgm:t>
        <a:bodyPr/>
        <a:lstStyle/>
        <a:p>
          <a:r>
            <a:rPr lang="de-DE" noProof="0" dirty="0" err="1" smtClean="0">
              <a:solidFill>
                <a:schemeClr val="tx1"/>
              </a:solidFill>
            </a:rPr>
            <a:t>Alignment</a:t>
          </a:r>
          <a:r>
            <a:rPr lang="de-DE" noProof="0" dirty="0" smtClean="0">
              <a:solidFill>
                <a:schemeClr val="tx1"/>
              </a:solidFill>
            </a:rPr>
            <a:t> </a:t>
          </a:r>
          <a:r>
            <a:rPr lang="de-DE" noProof="0" dirty="0" err="1" smtClean="0">
              <a:solidFill>
                <a:schemeClr val="tx1"/>
              </a:solidFill>
            </a:rPr>
            <a:t>of</a:t>
          </a:r>
          <a:r>
            <a:rPr lang="de-DE" noProof="0" dirty="0" smtClean="0">
              <a:solidFill>
                <a:schemeClr val="tx1"/>
              </a:solidFill>
            </a:rPr>
            <a:t> QA/QM </a:t>
          </a:r>
          <a:r>
            <a:rPr lang="de-DE" noProof="0" dirty="0" err="1" smtClean="0">
              <a:solidFill>
                <a:schemeClr val="tx1"/>
              </a:solidFill>
            </a:rPr>
            <a:t>with</a:t>
          </a:r>
          <a:r>
            <a:rPr lang="de-DE" noProof="0" dirty="0" smtClean="0">
              <a:solidFill>
                <a:schemeClr val="tx1"/>
              </a:solidFill>
            </a:rPr>
            <a:t> ONE</a:t>
          </a:r>
          <a:endParaRPr lang="en-US" noProof="0" dirty="0">
            <a:solidFill>
              <a:schemeClr val="tx1"/>
            </a:solidFill>
          </a:endParaRPr>
        </a:p>
      </dgm:t>
    </dgm:pt>
    <dgm:pt modelId="{FB98F5AA-D1A4-4321-96D1-8460090CD620}" type="parTrans" cxnId="{ED9E30C1-4141-4E29-9AF4-836646289151}">
      <dgm:prSet/>
      <dgm:spPr/>
      <dgm:t>
        <a:bodyPr/>
        <a:lstStyle/>
        <a:p>
          <a:endParaRPr lang="de-DE"/>
        </a:p>
      </dgm:t>
    </dgm:pt>
    <dgm:pt modelId="{724DCBEC-4998-469F-9631-AAD872AE1865}" type="sibTrans" cxnId="{ED9E30C1-4141-4E29-9AF4-836646289151}">
      <dgm:prSet/>
      <dgm:spPr/>
      <dgm:t>
        <a:bodyPr/>
        <a:lstStyle/>
        <a:p>
          <a:endParaRPr lang="de-DE"/>
        </a:p>
      </dgm:t>
    </dgm:pt>
    <dgm:pt modelId="{6F2ACCCB-2642-4243-B841-5B316D2EA77E}">
      <dgm:prSet/>
      <dgm:spPr/>
      <dgm:t>
        <a:bodyPr/>
        <a:lstStyle/>
        <a:p>
          <a:r>
            <a:rPr lang="de-DE" noProof="0" dirty="0" smtClean="0">
              <a:solidFill>
                <a:schemeClr val="tx1"/>
              </a:solidFill>
            </a:rPr>
            <a:t>Finale </a:t>
          </a:r>
          <a:r>
            <a:rPr lang="de-DE" noProof="0" dirty="0" err="1" smtClean="0">
              <a:solidFill>
                <a:schemeClr val="tx1"/>
              </a:solidFill>
            </a:rPr>
            <a:t>realease</a:t>
          </a:r>
          <a:r>
            <a:rPr lang="de-DE" noProof="0" dirty="0" smtClean="0">
              <a:solidFill>
                <a:schemeClr val="tx1"/>
              </a:solidFill>
            </a:rPr>
            <a:t> </a:t>
          </a:r>
          <a:r>
            <a:rPr lang="de-DE" noProof="0" dirty="0" err="1" smtClean="0">
              <a:solidFill>
                <a:schemeClr val="tx1"/>
              </a:solidFill>
            </a:rPr>
            <a:t>of</a:t>
          </a:r>
          <a:r>
            <a:rPr lang="de-DE" noProof="0" dirty="0" smtClean="0">
              <a:solidFill>
                <a:schemeClr val="tx1"/>
              </a:solidFill>
            </a:rPr>
            <a:t> </a:t>
          </a:r>
          <a:r>
            <a:rPr lang="de-DE" noProof="0" dirty="0" err="1" smtClean="0">
              <a:solidFill>
                <a:schemeClr val="tx1"/>
              </a:solidFill>
            </a:rPr>
            <a:t>Build</a:t>
          </a:r>
          <a:r>
            <a:rPr lang="de-DE" noProof="0" dirty="0" smtClean="0">
              <a:solidFill>
                <a:schemeClr val="tx1"/>
              </a:solidFill>
            </a:rPr>
            <a:t>/Updates Initials on </a:t>
          </a:r>
          <a:r>
            <a:rPr lang="de-DE" noProof="0" dirty="0" err="1" smtClean="0">
              <a:solidFill>
                <a:schemeClr val="tx1"/>
              </a:solidFill>
            </a:rPr>
            <a:t>BrainNet</a:t>
          </a:r>
          <a:r>
            <a:rPr lang="de-DE" noProof="0" dirty="0" smtClean="0">
              <a:solidFill>
                <a:schemeClr val="tx1"/>
              </a:solidFill>
            </a:rPr>
            <a:t>/KPMG </a:t>
          </a:r>
          <a:r>
            <a:rPr lang="de-DE" noProof="0" dirty="0" err="1" smtClean="0">
              <a:solidFill>
                <a:schemeClr val="tx1"/>
              </a:solidFill>
            </a:rPr>
            <a:t>Architecture</a:t>
          </a:r>
          <a:endParaRPr lang="de-DE" noProof="0" dirty="0" smtClean="0">
            <a:solidFill>
              <a:schemeClr val="tx1"/>
            </a:solidFill>
          </a:endParaRPr>
        </a:p>
      </dgm:t>
    </dgm:pt>
    <dgm:pt modelId="{4EC16CBC-AD93-49A0-838F-F7F3C8846FFA}" type="parTrans" cxnId="{C2913C7B-F7B8-4715-9C1C-C42C551CE407}">
      <dgm:prSet/>
      <dgm:spPr/>
      <dgm:t>
        <a:bodyPr/>
        <a:lstStyle/>
        <a:p>
          <a:endParaRPr lang="de-DE"/>
        </a:p>
      </dgm:t>
    </dgm:pt>
    <dgm:pt modelId="{E6BEC951-C280-47C5-BC4F-2ECCC85F2CFB}" type="sibTrans" cxnId="{C2913C7B-F7B8-4715-9C1C-C42C551CE407}">
      <dgm:prSet/>
      <dgm:spPr/>
      <dgm:t>
        <a:bodyPr/>
        <a:lstStyle/>
        <a:p>
          <a:endParaRPr lang="de-DE"/>
        </a:p>
      </dgm:t>
    </dgm:pt>
    <dgm:pt modelId="{385C2A6F-F138-4358-957A-D5B9C026B945}">
      <dgm:prSet/>
      <dgm:spPr/>
      <dgm:t>
        <a:bodyPr/>
        <a:lstStyle/>
        <a:p>
          <a:r>
            <a:rPr lang="en-US" noProof="0" dirty="0" smtClean="0">
              <a:solidFill>
                <a:schemeClr val="tx1"/>
              </a:solidFill>
            </a:rPr>
            <a:t>Overall technical Responsibility and </a:t>
          </a:r>
          <a:r>
            <a:rPr lang="en-US" noProof="0" dirty="0" err="1" smtClean="0">
              <a:solidFill>
                <a:schemeClr val="tx1"/>
              </a:solidFill>
            </a:rPr>
            <a:t>Budgetmanagement</a:t>
          </a:r>
          <a:endParaRPr lang="de-DE" noProof="0" dirty="0" smtClean="0">
            <a:solidFill>
              <a:schemeClr val="tx1"/>
            </a:solidFill>
          </a:endParaRPr>
        </a:p>
      </dgm:t>
    </dgm:pt>
    <dgm:pt modelId="{189E4D07-E74F-45A7-9DFC-022EB0C54834}" type="parTrans" cxnId="{AF63A039-E8A5-4D7D-9001-69F35FF71EE0}">
      <dgm:prSet/>
      <dgm:spPr/>
      <dgm:t>
        <a:bodyPr/>
        <a:lstStyle/>
        <a:p>
          <a:endParaRPr lang="de-DE"/>
        </a:p>
      </dgm:t>
    </dgm:pt>
    <dgm:pt modelId="{9D224F3B-C2EB-47F0-A713-01D143C8D309}" type="sibTrans" cxnId="{AF63A039-E8A5-4D7D-9001-69F35FF71EE0}">
      <dgm:prSet/>
      <dgm:spPr/>
      <dgm:t>
        <a:bodyPr/>
        <a:lstStyle/>
        <a:p>
          <a:endParaRPr lang="de-DE"/>
        </a:p>
      </dgm:t>
    </dgm:pt>
    <dgm:pt modelId="{2AF27586-3741-4FF5-BA7A-F984A3771422}" type="pres">
      <dgm:prSet presAssocID="{3B6DFCDD-03B0-442F-9FA9-1D5898D5A014}" presName="linearFlow" presStyleCnt="0">
        <dgm:presLayoutVars>
          <dgm:dir/>
          <dgm:animLvl val="lvl"/>
          <dgm:resizeHandles val="exact"/>
        </dgm:presLayoutVars>
      </dgm:prSet>
      <dgm:spPr/>
      <dgm:t>
        <a:bodyPr/>
        <a:lstStyle/>
        <a:p>
          <a:endParaRPr lang="de-DE"/>
        </a:p>
      </dgm:t>
    </dgm:pt>
    <dgm:pt modelId="{1A368097-F110-44BF-8987-F7DB1A0DE3DE}" type="pres">
      <dgm:prSet presAssocID="{3B74857E-F155-43E0-9562-C54F50545BA1}" presName="composite" presStyleCnt="0"/>
      <dgm:spPr/>
    </dgm:pt>
    <dgm:pt modelId="{9A7C803D-3DE8-4174-AA74-797C37B007AA}" type="pres">
      <dgm:prSet presAssocID="{3B74857E-F155-43E0-9562-C54F50545BA1}" presName="parTx" presStyleLbl="node1" presStyleIdx="0" presStyleCnt="3">
        <dgm:presLayoutVars>
          <dgm:chMax val="0"/>
          <dgm:chPref val="0"/>
          <dgm:bulletEnabled val="1"/>
        </dgm:presLayoutVars>
      </dgm:prSet>
      <dgm:spPr/>
      <dgm:t>
        <a:bodyPr/>
        <a:lstStyle/>
        <a:p>
          <a:endParaRPr lang="de-DE"/>
        </a:p>
      </dgm:t>
    </dgm:pt>
    <dgm:pt modelId="{393E4132-E484-4200-A646-D492B5E2F234}" type="pres">
      <dgm:prSet presAssocID="{3B74857E-F155-43E0-9562-C54F50545BA1}" presName="parSh" presStyleLbl="node1" presStyleIdx="0" presStyleCnt="3"/>
      <dgm:spPr/>
      <dgm:t>
        <a:bodyPr/>
        <a:lstStyle/>
        <a:p>
          <a:endParaRPr lang="de-DE"/>
        </a:p>
      </dgm:t>
    </dgm:pt>
    <dgm:pt modelId="{98D2DBCA-262B-4BA5-86D0-7BD4704ED605}" type="pres">
      <dgm:prSet presAssocID="{3B74857E-F155-43E0-9562-C54F50545BA1}" presName="desTx" presStyleLbl="fgAcc1" presStyleIdx="0" presStyleCnt="3">
        <dgm:presLayoutVars>
          <dgm:bulletEnabled val="1"/>
        </dgm:presLayoutVars>
      </dgm:prSet>
      <dgm:spPr/>
      <dgm:t>
        <a:bodyPr/>
        <a:lstStyle/>
        <a:p>
          <a:endParaRPr lang="de-DE"/>
        </a:p>
      </dgm:t>
    </dgm:pt>
    <dgm:pt modelId="{62CE422F-C2C1-4952-AB1C-926D0177676F}" type="pres">
      <dgm:prSet presAssocID="{704FCE76-4951-432B-99C1-C688B024BA3C}" presName="sibTrans" presStyleLbl="sibTrans2D1" presStyleIdx="0" presStyleCnt="2"/>
      <dgm:spPr/>
      <dgm:t>
        <a:bodyPr/>
        <a:lstStyle/>
        <a:p>
          <a:endParaRPr lang="de-DE"/>
        </a:p>
      </dgm:t>
    </dgm:pt>
    <dgm:pt modelId="{2F64869B-F33B-4C4C-9F9F-45E3ED4E59FA}" type="pres">
      <dgm:prSet presAssocID="{704FCE76-4951-432B-99C1-C688B024BA3C}" presName="connTx" presStyleLbl="sibTrans2D1" presStyleIdx="0" presStyleCnt="2"/>
      <dgm:spPr/>
      <dgm:t>
        <a:bodyPr/>
        <a:lstStyle/>
        <a:p>
          <a:endParaRPr lang="de-DE"/>
        </a:p>
      </dgm:t>
    </dgm:pt>
    <dgm:pt modelId="{6C3F74DA-DE24-4C2E-9E09-233E309B94F4}" type="pres">
      <dgm:prSet presAssocID="{53C7DD31-4393-492D-8F55-A8C421A83694}" presName="composite" presStyleCnt="0"/>
      <dgm:spPr/>
    </dgm:pt>
    <dgm:pt modelId="{B2C610BF-C1B0-4D33-BA72-0E0B23E4E943}" type="pres">
      <dgm:prSet presAssocID="{53C7DD31-4393-492D-8F55-A8C421A83694}" presName="parTx" presStyleLbl="node1" presStyleIdx="0" presStyleCnt="3">
        <dgm:presLayoutVars>
          <dgm:chMax val="0"/>
          <dgm:chPref val="0"/>
          <dgm:bulletEnabled val="1"/>
        </dgm:presLayoutVars>
      </dgm:prSet>
      <dgm:spPr/>
      <dgm:t>
        <a:bodyPr/>
        <a:lstStyle/>
        <a:p>
          <a:endParaRPr lang="de-DE"/>
        </a:p>
      </dgm:t>
    </dgm:pt>
    <dgm:pt modelId="{7CBC046B-028E-44E0-A4BF-909BDBD2EAE2}" type="pres">
      <dgm:prSet presAssocID="{53C7DD31-4393-492D-8F55-A8C421A83694}" presName="parSh" presStyleLbl="node1" presStyleIdx="1" presStyleCnt="3"/>
      <dgm:spPr/>
      <dgm:t>
        <a:bodyPr/>
        <a:lstStyle/>
        <a:p>
          <a:endParaRPr lang="de-DE"/>
        </a:p>
      </dgm:t>
    </dgm:pt>
    <dgm:pt modelId="{3CB5B44D-C16A-42E5-BFC0-58979C8CF32C}" type="pres">
      <dgm:prSet presAssocID="{53C7DD31-4393-492D-8F55-A8C421A83694}" presName="desTx" presStyleLbl="fgAcc1" presStyleIdx="1" presStyleCnt="3">
        <dgm:presLayoutVars>
          <dgm:bulletEnabled val="1"/>
        </dgm:presLayoutVars>
      </dgm:prSet>
      <dgm:spPr/>
      <dgm:t>
        <a:bodyPr/>
        <a:lstStyle/>
        <a:p>
          <a:endParaRPr lang="de-DE"/>
        </a:p>
      </dgm:t>
    </dgm:pt>
    <dgm:pt modelId="{01D778CF-5FF1-4230-ABCA-EB364CF44550}" type="pres">
      <dgm:prSet presAssocID="{1F236EAF-5EE8-46CF-919F-385EDE8B7A1B}" presName="sibTrans" presStyleLbl="sibTrans2D1" presStyleIdx="1" presStyleCnt="2"/>
      <dgm:spPr/>
      <dgm:t>
        <a:bodyPr/>
        <a:lstStyle/>
        <a:p>
          <a:endParaRPr lang="de-DE"/>
        </a:p>
      </dgm:t>
    </dgm:pt>
    <dgm:pt modelId="{647FCC81-9F5F-4305-A230-3FA29615CC4D}" type="pres">
      <dgm:prSet presAssocID="{1F236EAF-5EE8-46CF-919F-385EDE8B7A1B}" presName="connTx" presStyleLbl="sibTrans2D1" presStyleIdx="1" presStyleCnt="2"/>
      <dgm:spPr/>
      <dgm:t>
        <a:bodyPr/>
        <a:lstStyle/>
        <a:p>
          <a:endParaRPr lang="de-DE"/>
        </a:p>
      </dgm:t>
    </dgm:pt>
    <dgm:pt modelId="{211B84C1-284D-4087-AC80-453B70332DFC}" type="pres">
      <dgm:prSet presAssocID="{215F9FE3-25C1-4C9F-8D38-5EF7512D8E67}" presName="composite" presStyleCnt="0"/>
      <dgm:spPr/>
    </dgm:pt>
    <dgm:pt modelId="{4D5C6018-320C-4A1B-BF80-BCC7FF410480}" type="pres">
      <dgm:prSet presAssocID="{215F9FE3-25C1-4C9F-8D38-5EF7512D8E67}" presName="parTx" presStyleLbl="node1" presStyleIdx="1" presStyleCnt="3">
        <dgm:presLayoutVars>
          <dgm:chMax val="0"/>
          <dgm:chPref val="0"/>
          <dgm:bulletEnabled val="1"/>
        </dgm:presLayoutVars>
      </dgm:prSet>
      <dgm:spPr/>
      <dgm:t>
        <a:bodyPr/>
        <a:lstStyle/>
        <a:p>
          <a:endParaRPr lang="de-DE"/>
        </a:p>
      </dgm:t>
    </dgm:pt>
    <dgm:pt modelId="{BB036E75-5E2F-48A4-8CD3-A793F2BB19F1}" type="pres">
      <dgm:prSet presAssocID="{215F9FE3-25C1-4C9F-8D38-5EF7512D8E67}" presName="parSh" presStyleLbl="node1" presStyleIdx="2" presStyleCnt="3"/>
      <dgm:spPr/>
      <dgm:t>
        <a:bodyPr/>
        <a:lstStyle/>
        <a:p>
          <a:endParaRPr lang="de-DE"/>
        </a:p>
      </dgm:t>
    </dgm:pt>
    <dgm:pt modelId="{63F43672-710B-435F-9E42-7F50EDC58325}" type="pres">
      <dgm:prSet presAssocID="{215F9FE3-25C1-4C9F-8D38-5EF7512D8E67}" presName="desTx" presStyleLbl="fgAcc1" presStyleIdx="2" presStyleCnt="3">
        <dgm:presLayoutVars>
          <dgm:bulletEnabled val="1"/>
        </dgm:presLayoutVars>
      </dgm:prSet>
      <dgm:spPr/>
      <dgm:t>
        <a:bodyPr/>
        <a:lstStyle/>
        <a:p>
          <a:endParaRPr lang="de-DE"/>
        </a:p>
      </dgm:t>
    </dgm:pt>
  </dgm:ptLst>
  <dgm:cxnLst>
    <dgm:cxn modelId="{BD61B628-C93B-4AC4-A238-20DC67F20ADB}" type="presOf" srcId="{3B74857E-F155-43E0-9562-C54F50545BA1}" destId="{393E4132-E484-4200-A646-D492B5E2F234}" srcOrd="1" destOrd="0" presId="urn:microsoft.com/office/officeart/2005/8/layout/process3"/>
    <dgm:cxn modelId="{F6D374C9-6C2C-4B77-B139-A292654A77ED}" type="presOf" srcId="{6F2ACCCB-2642-4243-B841-5B316D2EA77E}" destId="{98D2DBCA-262B-4BA5-86D0-7BD4704ED605}" srcOrd="0" destOrd="5" presId="urn:microsoft.com/office/officeart/2005/8/layout/process3"/>
    <dgm:cxn modelId="{1F951FFD-80C9-46F5-BC47-244D00F24AC8}" type="presOf" srcId="{BF682A5C-6E85-4F12-B071-BEA30729EC73}" destId="{63F43672-710B-435F-9E42-7F50EDC58325}" srcOrd="0" destOrd="2" presId="urn:microsoft.com/office/officeart/2005/8/layout/process3"/>
    <dgm:cxn modelId="{AD00BE50-118F-419F-9F8F-12A9C4CCCF36}" srcId="{53C7DD31-4393-492D-8F55-A8C421A83694}" destId="{A35718A1-CA76-4237-BA11-C55B18DCDDE9}" srcOrd="3" destOrd="0" parTransId="{3F1C4E87-D37A-4E5E-84E0-116076F25683}" sibTransId="{6DF1B860-80B5-403D-A2B2-7BFDFFB1DD2F}"/>
    <dgm:cxn modelId="{DB6A266B-77B5-4BCF-8C8B-0F82F73F91DB}" type="presOf" srcId="{704FCE76-4951-432B-99C1-C688B024BA3C}" destId="{62CE422F-C2C1-4952-AB1C-926D0177676F}" srcOrd="0" destOrd="0" presId="urn:microsoft.com/office/officeart/2005/8/layout/process3"/>
    <dgm:cxn modelId="{9FE87D02-A6F3-4DFE-A523-FAE86056AE08}" srcId="{3B74857E-F155-43E0-9562-C54F50545BA1}" destId="{C740442F-3860-413B-98BE-1873A6467A06}" srcOrd="2" destOrd="0" parTransId="{DFEB0855-29AD-4FBD-B710-29F7EEFA007D}" sibTransId="{B605FC7D-659F-4FAD-B370-2B72B9F7653E}"/>
    <dgm:cxn modelId="{B102F883-1BAF-4F19-AD9B-1473A34991BE}" type="presOf" srcId="{3B74857E-F155-43E0-9562-C54F50545BA1}" destId="{9A7C803D-3DE8-4174-AA74-797C37B007AA}" srcOrd="0" destOrd="0" presId="urn:microsoft.com/office/officeart/2005/8/layout/process3"/>
    <dgm:cxn modelId="{AC71F5B7-3CD1-4D7B-B8BA-DBCA92C26677}" srcId="{3B74857E-F155-43E0-9562-C54F50545BA1}" destId="{5DD5DAF2-2B60-4157-B08B-CB62BC54EBB8}" srcOrd="3" destOrd="0" parTransId="{A62C71D9-8218-42E7-9059-DA3CEA72A308}" sibTransId="{7F10764C-D3BD-453F-B044-E753B3BA7E91}"/>
    <dgm:cxn modelId="{BC31550A-9713-48F4-8B4D-4D1315152004}" type="presOf" srcId="{F72B12EE-124A-42A7-B92A-A1C04DA39A48}" destId="{63F43672-710B-435F-9E42-7F50EDC58325}" srcOrd="0" destOrd="0" presId="urn:microsoft.com/office/officeart/2005/8/layout/process3"/>
    <dgm:cxn modelId="{10A3A79D-EECD-400C-A6A0-1D0D0BB95289}" srcId="{215F9FE3-25C1-4C9F-8D38-5EF7512D8E67}" destId="{F72B12EE-124A-42A7-B92A-A1C04DA39A48}" srcOrd="0" destOrd="0" parTransId="{44876802-26A8-42BC-8237-902BE9EA95C2}" sibTransId="{F79E1C83-160A-44EE-B27A-9F22966B8BB4}"/>
    <dgm:cxn modelId="{B672B813-E57C-42F2-95F5-0DD5A8E8C361}" srcId="{215F9FE3-25C1-4C9F-8D38-5EF7512D8E67}" destId="{BF682A5C-6E85-4F12-B071-BEA30729EC73}" srcOrd="2" destOrd="0" parTransId="{FC6212AF-CA63-4DE4-8B23-C0E94073988D}" sibTransId="{6C410F28-43AA-497E-B8F6-95B455EF9EB9}"/>
    <dgm:cxn modelId="{E702718F-B5D7-4723-A67C-7785C27D1947}" srcId="{53C7DD31-4393-492D-8F55-A8C421A83694}" destId="{E12BEF0F-9D72-432D-A0F8-6F74F923D1C2}" srcOrd="0" destOrd="0" parTransId="{4DE5E26E-42D3-47AA-8569-A5A11251AFCE}" sibTransId="{339F69D6-79D9-4507-8FCD-5F26F6850CB2}"/>
    <dgm:cxn modelId="{C2913C7B-F7B8-4715-9C1C-C42C551CE407}" srcId="{3B74857E-F155-43E0-9562-C54F50545BA1}" destId="{6F2ACCCB-2642-4243-B841-5B316D2EA77E}" srcOrd="5" destOrd="0" parTransId="{4EC16CBC-AD93-49A0-838F-F7F3C8846FFA}" sibTransId="{E6BEC951-C280-47C5-BC4F-2ECCC85F2CFB}"/>
    <dgm:cxn modelId="{3E186652-1C21-4EAA-B7FC-D62DDE889C15}" type="presOf" srcId="{D8564AF7-4CE4-4610-8202-FE13754BEA57}" destId="{98D2DBCA-262B-4BA5-86D0-7BD4704ED605}" srcOrd="0" destOrd="4" presId="urn:microsoft.com/office/officeart/2005/8/layout/process3"/>
    <dgm:cxn modelId="{9FA5E56D-3340-435E-A429-56268AE3A916}" srcId="{53C7DD31-4393-492D-8F55-A8C421A83694}" destId="{B45BE121-B372-47B2-B4A9-6E5CB8BB9F04}" srcOrd="4" destOrd="0" parTransId="{71720714-5AD3-4CD2-82D1-E5F5C3B2D367}" sibTransId="{9D6568BB-8007-4C99-9474-2434EDA13062}"/>
    <dgm:cxn modelId="{36C35F4A-D3A9-4789-A7A4-A9C069A8BFC5}" type="presOf" srcId="{704FCE76-4951-432B-99C1-C688B024BA3C}" destId="{2F64869B-F33B-4C4C-9F9F-45E3ED4E59FA}" srcOrd="1" destOrd="0" presId="urn:microsoft.com/office/officeart/2005/8/layout/process3"/>
    <dgm:cxn modelId="{0177130C-9C1E-4B0A-87D5-CF2390F7374F}" srcId="{53C7DD31-4393-492D-8F55-A8C421A83694}" destId="{F93B00D0-FA4D-474F-86E7-7210DEFAD0DE}" srcOrd="2" destOrd="0" parTransId="{D4922E47-CB3C-4E44-B4CA-2349FB8F03F3}" sibTransId="{E685BCD9-23D5-4BCF-9EFC-14F3A93E615F}"/>
    <dgm:cxn modelId="{F938F497-7CC5-42C4-A600-1C807569A0F4}" type="presOf" srcId="{DAB3C87E-7002-4528-92E5-252FEDC386CE}" destId="{63F43672-710B-435F-9E42-7F50EDC58325}" srcOrd="0" destOrd="4" presId="urn:microsoft.com/office/officeart/2005/8/layout/process3"/>
    <dgm:cxn modelId="{D932903A-C4BD-4281-B504-35D549584804}" srcId="{3B6DFCDD-03B0-442F-9FA9-1D5898D5A014}" destId="{3B74857E-F155-43E0-9562-C54F50545BA1}" srcOrd="0" destOrd="0" parTransId="{986C5839-1E2A-474F-909D-3B397BECE21B}" sibTransId="{704FCE76-4951-432B-99C1-C688B024BA3C}"/>
    <dgm:cxn modelId="{342CB7C8-2E7D-4609-B912-7EB96146A267}" type="presOf" srcId="{E12BEF0F-9D72-432D-A0F8-6F74F923D1C2}" destId="{3CB5B44D-C16A-42E5-BFC0-58979C8CF32C}" srcOrd="0" destOrd="0" presId="urn:microsoft.com/office/officeart/2005/8/layout/process3"/>
    <dgm:cxn modelId="{6B581EF2-F60B-494B-9965-B4CE6AAADC56}" type="presOf" srcId="{53C7DD31-4393-492D-8F55-A8C421A83694}" destId="{B2C610BF-C1B0-4D33-BA72-0E0B23E4E943}" srcOrd="0" destOrd="0" presId="urn:microsoft.com/office/officeart/2005/8/layout/process3"/>
    <dgm:cxn modelId="{0642D9DA-2E5D-4668-8BA7-8B1A097F7080}" srcId="{215F9FE3-25C1-4C9F-8D38-5EF7512D8E67}" destId="{62262F3A-46E9-4D60-9D9B-B326D5670083}" srcOrd="1" destOrd="0" parTransId="{2224E435-9323-4E17-A452-24A2863FE10B}" sibTransId="{C139D6FE-D61A-4A3F-BFDF-5D5225C02078}"/>
    <dgm:cxn modelId="{0CB42BDA-9379-4B74-AEF0-799C7CF8F2ED}" type="presOf" srcId="{A35718A1-CA76-4237-BA11-C55B18DCDDE9}" destId="{3CB5B44D-C16A-42E5-BFC0-58979C8CF32C}" srcOrd="0" destOrd="3" presId="urn:microsoft.com/office/officeart/2005/8/layout/process3"/>
    <dgm:cxn modelId="{115B1CEC-75DE-4DED-AE57-4DD3557108F0}" type="presOf" srcId="{3B6DFCDD-03B0-442F-9FA9-1D5898D5A014}" destId="{2AF27586-3741-4FF5-BA7A-F984A3771422}" srcOrd="0" destOrd="0" presId="urn:microsoft.com/office/officeart/2005/8/layout/process3"/>
    <dgm:cxn modelId="{12591A3F-BFE7-48A7-9723-449458503534}" type="presOf" srcId="{215F9FE3-25C1-4C9F-8D38-5EF7512D8E67}" destId="{BB036E75-5E2F-48A4-8CD3-A793F2BB19F1}" srcOrd="1" destOrd="0" presId="urn:microsoft.com/office/officeart/2005/8/layout/process3"/>
    <dgm:cxn modelId="{AF63A039-E8A5-4D7D-9001-69F35FF71EE0}" srcId="{3B74857E-F155-43E0-9562-C54F50545BA1}" destId="{385C2A6F-F138-4358-957A-D5B9C026B945}" srcOrd="6" destOrd="0" parTransId="{189E4D07-E74F-45A7-9DFC-022EB0C54834}" sibTransId="{9D224F3B-C2EB-47F0-A713-01D143C8D309}"/>
    <dgm:cxn modelId="{5368474E-07B7-4780-9631-1AF8A6579FCF}" type="presOf" srcId="{5E24D6B0-0A56-4A05-B41B-EEDC9F8B6B1A}" destId="{98D2DBCA-262B-4BA5-86D0-7BD4704ED605}" srcOrd="0" destOrd="1" presId="urn:microsoft.com/office/officeart/2005/8/layout/process3"/>
    <dgm:cxn modelId="{08407FA1-F8F8-4662-A9D8-EC5A2E3723D6}" srcId="{3B74857E-F155-43E0-9562-C54F50545BA1}" destId="{5E24D6B0-0A56-4A05-B41B-EEDC9F8B6B1A}" srcOrd="1" destOrd="0" parTransId="{CE159B9C-5F3A-4507-B6F7-91AEBEFC420D}" sibTransId="{41162D4B-C3FB-42E0-A16D-7A6BD1C840A4}"/>
    <dgm:cxn modelId="{40DB659C-215E-4A07-8F34-23876F9F6324}" srcId="{3B6DFCDD-03B0-442F-9FA9-1D5898D5A014}" destId="{215F9FE3-25C1-4C9F-8D38-5EF7512D8E67}" srcOrd="2" destOrd="0" parTransId="{3B676621-8F2F-47FD-AECB-B63B2844B786}" sibTransId="{E3E7ED0D-1488-4A53-9FD0-1269B0C3A0BD}"/>
    <dgm:cxn modelId="{72FD8276-9761-44F1-9427-A9F576A1F6CD}" type="presOf" srcId="{C740442F-3860-413B-98BE-1873A6467A06}" destId="{98D2DBCA-262B-4BA5-86D0-7BD4704ED605}" srcOrd="0" destOrd="2" presId="urn:microsoft.com/office/officeart/2005/8/layout/process3"/>
    <dgm:cxn modelId="{4023A0CF-3242-42CE-BABE-D6B13363358E}" type="presOf" srcId="{385C2A6F-F138-4358-957A-D5B9C026B945}" destId="{98D2DBCA-262B-4BA5-86D0-7BD4704ED605}" srcOrd="0" destOrd="6" presId="urn:microsoft.com/office/officeart/2005/8/layout/process3"/>
    <dgm:cxn modelId="{83887204-1468-43F2-B2F3-99EDD790BA24}" type="presOf" srcId="{1F236EAF-5EE8-46CF-919F-385EDE8B7A1B}" destId="{01D778CF-5FF1-4230-ABCA-EB364CF44550}" srcOrd="0" destOrd="0" presId="urn:microsoft.com/office/officeart/2005/8/layout/process3"/>
    <dgm:cxn modelId="{0D0D40B1-0414-4725-978A-D5F4B45BAA03}" type="presOf" srcId="{4F4356F1-3387-4B2F-A2B9-B55DD4B2584B}" destId="{3CB5B44D-C16A-42E5-BFC0-58979C8CF32C}" srcOrd="0" destOrd="1" presId="urn:microsoft.com/office/officeart/2005/8/layout/process3"/>
    <dgm:cxn modelId="{C1445D93-AEC3-4F87-AB8D-B16D94F5EB0A}" srcId="{53C7DD31-4393-492D-8F55-A8C421A83694}" destId="{4F4356F1-3387-4B2F-A2B9-B55DD4B2584B}" srcOrd="1" destOrd="0" parTransId="{9567D4EE-C7DB-4A1F-9820-D5CBE6555B14}" sibTransId="{28341BC8-42E0-4114-86B5-A2AD2756EC1C}"/>
    <dgm:cxn modelId="{2BB1BB7F-68FC-4A52-88ED-8973D49F01FF}" type="presOf" srcId="{62262F3A-46E9-4D60-9D9B-B326D5670083}" destId="{63F43672-710B-435F-9E42-7F50EDC58325}" srcOrd="0" destOrd="1" presId="urn:microsoft.com/office/officeart/2005/8/layout/process3"/>
    <dgm:cxn modelId="{8C34ADBB-7B92-4E07-B4FB-C8504A974283}" type="presOf" srcId="{5DD5DAF2-2B60-4157-B08B-CB62BC54EBB8}" destId="{98D2DBCA-262B-4BA5-86D0-7BD4704ED605}" srcOrd="0" destOrd="3" presId="urn:microsoft.com/office/officeart/2005/8/layout/process3"/>
    <dgm:cxn modelId="{F12D0448-7400-4503-A207-C1EA5118E0F0}" type="presOf" srcId="{F904B1A7-4F68-4EC6-8235-2D4C6D94F973}" destId="{98D2DBCA-262B-4BA5-86D0-7BD4704ED605}" srcOrd="0" destOrd="0" presId="urn:microsoft.com/office/officeart/2005/8/layout/process3"/>
    <dgm:cxn modelId="{3D8287F6-FB34-43AA-A53D-5D2484EFC9DE}" srcId="{215F9FE3-25C1-4C9F-8D38-5EF7512D8E67}" destId="{24A0CBCC-4820-4AA8-B880-9B63171A91E9}" srcOrd="3" destOrd="0" parTransId="{F849FA68-9B67-4FC2-9D5B-864B4D049B2F}" sibTransId="{076287CE-30FF-494B-ADB7-7AD7B2601D5C}"/>
    <dgm:cxn modelId="{3781FEA1-60C8-4DB8-B3C2-61E641D3AD5F}" type="presOf" srcId="{F93B00D0-FA4D-474F-86E7-7210DEFAD0DE}" destId="{3CB5B44D-C16A-42E5-BFC0-58979C8CF32C}" srcOrd="0" destOrd="2" presId="urn:microsoft.com/office/officeart/2005/8/layout/process3"/>
    <dgm:cxn modelId="{F07657B2-D1DE-4FAF-9D18-0772D96E7058}" srcId="{215F9FE3-25C1-4C9F-8D38-5EF7512D8E67}" destId="{DAB3C87E-7002-4528-92E5-252FEDC386CE}" srcOrd="4" destOrd="0" parTransId="{9196C054-F904-4D5C-94A8-72355B4CEEF2}" sibTransId="{2061C309-0DD4-4937-B807-2EB42C71DB73}"/>
    <dgm:cxn modelId="{6B9E6D7F-DB94-4D22-89D7-89A93BDC6F1B}" srcId="{3B74857E-F155-43E0-9562-C54F50545BA1}" destId="{F904B1A7-4F68-4EC6-8235-2D4C6D94F973}" srcOrd="0" destOrd="0" parTransId="{340F2935-AF18-4467-BA79-9EBC37931B7D}" sibTransId="{0821C39B-7144-4FD9-A049-1605DD280F8F}"/>
    <dgm:cxn modelId="{E4274D2A-5756-427A-A13A-A2B20A135D0C}" srcId="{3B6DFCDD-03B0-442F-9FA9-1D5898D5A014}" destId="{53C7DD31-4393-492D-8F55-A8C421A83694}" srcOrd="1" destOrd="0" parTransId="{DC69CCA4-2EDA-46BD-95B4-8E2EFF37A239}" sibTransId="{1F236EAF-5EE8-46CF-919F-385EDE8B7A1B}"/>
    <dgm:cxn modelId="{5ECB800A-15A4-4ADF-ADE1-B70006B9C0B1}" type="presOf" srcId="{53C7DD31-4393-492D-8F55-A8C421A83694}" destId="{7CBC046B-028E-44E0-A4BF-909BDBD2EAE2}" srcOrd="1" destOrd="0" presId="urn:microsoft.com/office/officeart/2005/8/layout/process3"/>
    <dgm:cxn modelId="{0FA82BC6-DC64-432A-943B-1128982C0769}" type="presOf" srcId="{215F9FE3-25C1-4C9F-8D38-5EF7512D8E67}" destId="{4D5C6018-320C-4A1B-BF80-BCC7FF410480}" srcOrd="0" destOrd="0" presId="urn:microsoft.com/office/officeart/2005/8/layout/process3"/>
    <dgm:cxn modelId="{1A951CE6-9F7A-4B5C-B910-415FE41A447F}" type="presOf" srcId="{1F236EAF-5EE8-46CF-919F-385EDE8B7A1B}" destId="{647FCC81-9F5F-4305-A230-3FA29615CC4D}" srcOrd="1" destOrd="0" presId="urn:microsoft.com/office/officeart/2005/8/layout/process3"/>
    <dgm:cxn modelId="{FE688764-C844-4895-BBEE-945E20A9C5AE}" type="presOf" srcId="{24A0CBCC-4820-4AA8-B880-9B63171A91E9}" destId="{63F43672-710B-435F-9E42-7F50EDC58325}" srcOrd="0" destOrd="3" presId="urn:microsoft.com/office/officeart/2005/8/layout/process3"/>
    <dgm:cxn modelId="{B0A41B14-FB4D-440D-8A04-6E131CE2413A}" type="presOf" srcId="{B45BE121-B372-47B2-B4A9-6E5CB8BB9F04}" destId="{3CB5B44D-C16A-42E5-BFC0-58979C8CF32C}" srcOrd="0" destOrd="4" presId="urn:microsoft.com/office/officeart/2005/8/layout/process3"/>
    <dgm:cxn modelId="{ED9E30C1-4141-4E29-9AF4-836646289151}" srcId="{3B74857E-F155-43E0-9562-C54F50545BA1}" destId="{D8564AF7-4CE4-4610-8202-FE13754BEA57}" srcOrd="4" destOrd="0" parTransId="{FB98F5AA-D1A4-4321-96D1-8460090CD620}" sibTransId="{724DCBEC-4998-469F-9631-AAD872AE1865}"/>
    <dgm:cxn modelId="{CA56B4CC-8C6F-42C2-9064-65999471BF71}" type="presParOf" srcId="{2AF27586-3741-4FF5-BA7A-F984A3771422}" destId="{1A368097-F110-44BF-8987-F7DB1A0DE3DE}" srcOrd="0" destOrd="0" presId="urn:microsoft.com/office/officeart/2005/8/layout/process3"/>
    <dgm:cxn modelId="{CB5FD793-60F4-44E1-8643-AA1277D58011}" type="presParOf" srcId="{1A368097-F110-44BF-8987-F7DB1A0DE3DE}" destId="{9A7C803D-3DE8-4174-AA74-797C37B007AA}" srcOrd="0" destOrd="0" presId="urn:microsoft.com/office/officeart/2005/8/layout/process3"/>
    <dgm:cxn modelId="{6D0C4C5E-5D87-4802-9BE5-E66AE9713DD1}" type="presParOf" srcId="{1A368097-F110-44BF-8987-F7DB1A0DE3DE}" destId="{393E4132-E484-4200-A646-D492B5E2F234}" srcOrd="1" destOrd="0" presId="urn:microsoft.com/office/officeart/2005/8/layout/process3"/>
    <dgm:cxn modelId="{FFD04E41-040F-4F38-BCA2-4F962CAB0130}" type="presParOf" srcId="{1A368097-F110-44BF-8987-F7DB1A0DE3DE}" destId="{98D2DBCA-262B-4BA5-86D0-7BD4704ED605}" srcOrd="2" destOrd="0" presId="urn:microsoft.com/office/officeart/2005/8/layout/process3"/>
    <dgm:cxn modelId="{E1BD0F85-29C6-4535-A007-3D4A1CB7011A}" type="presParOf" srcId="{2AF27586-3741-4FF5-BA7A-F984A3771422}" destId="{62CE422F-C2C1-4952-AB1C-926D0177676F}" srcOrd="1" destOrd="0" presId="urn:microsoft.com/office/officeart/2005/8/layout/process3"/>
    <dgm:cxn modelId="{CEEC24AA-22FF-4B10-82F1-898E6132E617}" type="presParOf" srcId="{62CE422F-C2C1-4952-AB1C-926D0177676F}" destId="{2F64869B-F33B-4C4C-9F9F-45E3ED4E59FA}" srcOrd="0" destOrd="0" presId="urn:microsoft.com/office/officeart/2005/8/layout/process3"/>
    <dgm:cxn modelId="{C4981D33-9321-4C15-ACB9-2C327C391E56}" type="presParOf" srcId="{2AF27586-3741-4FF5-BA7A-F984A3771422}" destId="{6C3F74DA-DE24-4C2E-9E09-233E309B94F4}" srcOrd="2" destOrd="0" presId="urn:microsoft.com/office/officeart/2005/8/layout/process3"/>
    <dgm:cxn modelId="{19FC8E0D-39B0-4BBA-8CEF-871FEF127577}" type="presParOf" srcId="{6C3F74DA-DE24-4C2E-9E09-233E309B94F4}" destId="{B2C610BF-C1B0-4D33-BA72-0E0B23E4E943}" srcOrd="0" destOrd="0" presId="urn:microsoft.com/office/officeart/2005/8/layout/process3"/>
    <dgm:cxn modelId="{0D203CC2-1058-44E6-9A81-89988E02C9E6}" type="presParOf" srcId="{6C3F74DA-DE24-4C2E-9E09-233E309B94F4}" destId="{7CBC046B-028E-44E0-A4BF-909BDBD2EAE2}" srcOrd="1" destOrd="0" presId="urn:microsoft.com/office/officeart/2005/8/layout/process3"/>
    <dgm:cxn modelId="{27663FDB-206D-4B27-B51B-1E4152B7C500}" type="presParOf" srcId="{6C3F74DA-DE24-4C2E-9E09-233E309B94F4}" destId="{3CB5B44D-C16A-42E5-BFC0-58979C8CF32C}" srcOrd="2" destOrd="0" presId="urn:microsoft.com/office/officeart/2005/8/layout/process3"/>
    <dgm:cxn modelId="{87A490CB-7534-4B60-B02F-4E72DAFD8FFB}" type="presParOf" srcId="{2AF27586-3741-4FF5-BA7A-F984A3771422}" destId="{01D778CF-5FF1-4230-ABCA-EB364CF44550}" srcOrd="3" destOrd="0" presId="urn:microsoft.com/office/officeart/2005/8/layout/process3"/>
    <dgm:cxn modelId="{3CDA2776-856A-4978-9E85-A17AAE1A0218}" type="presParOf" srcId="{01D778CF-5FF1-4230-ABCA-EB364CF44550}" destId="{647FCC81-9F5F-4305-A230-3FA29615CC4D}" srcOrd="0" destOrd="0" presId="urn:microsoft.com/office/officeart/2005/8/layout/process3"/>
    <dgm:cxn modelId="{61D862B1-808D-4BBB-B4B6-00F40C41FABB}" type="presParOf" srcId="{2AF27586-3741-4FF5-BA7A-F984A3771422}" destId="{211B84C1-284D-4087-AC80-453B70332DFC}" srcOrd="4" destOrd="0" presId="urn:microsoft.com/office/officeart/2005/8/layout/process3"/>
    <dgm:cxn modelId="{0A8BF925-55D0-4975-BBF2-2D0D3C7D3EF6}" type="presParOf" srcId="{211B84C1-284D-4087-AC80-453B70332DFC}" destId="{4D5C6018-320C-4A1B-BF80-BCC7FF410480}" srcOrd="0" destOrd="0" presId="urn:microsoft.com/office/officeart/2005/8/layout/process3"/>
    <dgm:cxn modelId="{6B2BE869-103A-452A-B2C9-48D86911AF83}" type="presParOf" srcId="{211B84C1-284D-4087-AC80-453B70332DFC}" destId="{BB036E75-5E2F-48A4-8CD3-A793F2BB19F1}" srcOrd="1" destOrd="0" presId="urn:microsoft.com/office/officeart/2005/8/layout/process3"/>
    <dgm:cxn modelId="{28243B5B-6C40-4635-9D0A-01E3E23CBEFA}" type="presParOf" srcId="{211B84C1-284D-4087-AC80-453B70332DFC}" destId="{63F43672-710B-435F-9E42-7F50EDC58325}" srcOrd="2" destOrd="0" presId="urn:microsoft.com/office/officeart/2005/8/layout/process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B6DFCDD-03B0-442F-9FA9-1D5898D5A014}" type="doc">
      <dgm:prSet loTypeId="urn:microsoft.com/office/officeart/2005/8/layout/process3" loCatId="process" qsTypeId="urn:microsoft.com/office/officeart/2005/8/quickstyle/simple1" qsCatId="simple" csTypeId="urn:microsoft.com/office/officeart/2005/8/colors/accent0_2" csCatId="mainScheme" phldr="1"/>
      <dgm:spPr/>
      <dgm:t>
        <a:bodyPr/>
        <a:lstStyle/>
        <a:p>
          <a:endParaRPr lang="de-DE"/>
        </a:p>
      </dgm:t>
    </dgm:pt>
    <dgm:pt modelId="{3B74857E-F155-43E0-9562-C54F50545BA1}">
      <dgm:prSet phldrT="[Text]" custT="1"/>
      <dgm:spPr>
        <a:solidFill>
          <a:schemeClr val="accent6"/>
        </a:solidFill>
      </dgm:spPr>
      <dgm:t>
        <a:bodyPr/>
        <a:lstStyle/>
        <a:p>
          <a:r>
            <a:rPr lang="de-DE" sz="1400" b="1" dirty="0" smtClean="0">
              <a:solidFill>
                <a:schemeClr val="bg1"/>
              </a:solidFill>
            </a:rPr>
            <a:t>Overall</a:t>
          </a:r>
          <a:endParaRPr lang="de-DE" sz="1400" b="1" dirty="0">
            <a:solidFill>
              <a:schemeClr val="bg1"/>
            </a:solidFill>
          </a:endParaRPr>
        </a:p>
      </dgm:t>
    </dgm:pt>
    <dgm:pt modelId="{986C5839-1E2A-474F-909D-3B397BECE21B}" type="parTrans" cxnId="{D932903A-C4BD-4281-B504-35D549584804}">
      <dgm:prSet/>
      <dgm:spPr/>
      <dgm:t>
        <a:bodyPr/>
        <a:lstStyle/>
        <a:p>
          <a:endParaRPr lang="de-DE"/>
        </a:p>
      </dgm:t>
    </dgm:pt>
    <dgm:pt modelId="{704FCE76-4951-432B-99C1-C688B024BA3C}" type="sibTrans" cxnId="{D932903A-C4BD-4281-B504-35D549584804}">
      <dgm:prSet/>
      <dgm:spPr/>
      <dgm:t>
        <a:bodyPr/>
        <a:lstStyle/>
        <a:p>
          <a:endParaRPr lang="de-DE"/>
        </a:p>
      </dgm:t>
    </dgm:pt>
    <dgm:pt modelId="{F904B1A7-4F68-4EC6-8235-2D4C6D94F973}">
      <dgm:prSet phldrT="[Text]"/>
      <dgm:spPr/>
      <dgm:t>
        <a:bodyPr/>
        <a:lstStyle/>
        <a:p>
          <a:r>
            <a:rPr lang="en-US" noProof="0" dirty="0" smtClean="0">
              <a:solidFill>
                <a:schemeClr val="tx1"/>
              </a:solidFill>
            </a:rPr>
            <a:t>No cross-functional meetings longer than 3 hours</a:t>
          </a:r>
          <a:endParaRPr lang="en-US" noProof="0" dirty="0">
            <a:solidFill>
              <a:schemeClr val="tx1"/>
            </a:solidFill>
          </a:endParaRPr>
        </a:p>
      </dgm:t>
    </dgm:pt>
    <dgm:pt modelId="{340F2935-AF18-4467-BA79-9EBC37931B7D}" type="parTrans" cxnId="{6B9E6D7F-DB94-4D22-89D7-89A93BDC6F1B}">
      <dgm:prSet/>
      <dgm:spPr/>
      <dgm:t>
        <a:bodyPr/>
        <a:lstStyle/>
        <a:p>
          <a:endParaRPr lang="de-DE"/>
        </a:p>
      </dgm:t>
    </dgm:pt>
    <dgm:pt modelId="{0821C39B-7144-4FD9-A049-1605DD280F8F}" type="sibTrans" cxnId="{6B9E6D7F-DB94-4D22-89D7-89A93BDC6F1B}">
      <dgm:prSet/>
      <dgm:spPr/>
      <dgm:t>
        <a:bodyPr/>
        <a:lstStyle/>
        <a:p>
          <a:endParaRPr lang="de-DE"/>
        </a:p>
      </dgm:t>
    </dgm:pt>
    <dgm:pt modelId="{13BDB132-017D-4C6A-873B-DDFB7C12AB32}">
      <dgm:prSet phldrT="[Text]"/>
      <dgm:spPr/>
      <dgm:t>
        <a:bodyPr/>
        <a:lstStyle/>
        <a:p>
          <a:r>
            <a:rPr lang="en-US" noProof="0" dirty="0" smtClean="0">
              <a:solidFill>
                <a:schemeClr val="tx1"/>
              </a:solidFill>
            </a:rPr>
            <a:t>All parties ensure that they attend the meetings – “second in chare” is upfront nominated </a:t>
          </a:r>
          <a:endParaRPr lang="en-US" noProof="0" dirty="0">
            <a:solidFill>
              <a:schemeClr val="tx1"/>
            </a:solidFill>
          </a:endParaRPr>
        </a:p>
      </dgm:t>
    </dgm:pt>
    <dgm:pt modelId="{BFF81ECD-C0C1-4B36-8C79-29B04BAD4789}" type="parTrans" cxnId="{8EEE7192-3B53-4AEB-BEEA-F7A012D60917}">
      <dgm:prSet/>
      <dgm:spPr/>
      <dgm:t>
        <a:bodyPr/>
        <a:lstStyle/>
        <a:p>
          <a:endParaRPr lang="de-DE"/>
        </a:p>
      </dgm:t>
    </dgm:pt>
    <dgm:pt modelId="{BDA6C3BD-4224-47E2-B5A2-D9C09355745E}" type="sibTrans" cxnId="{8EEE7192-3B53-4AEB-BEEA-F7A012D60917}">
      <dgm:prSet/>
      <dgm:spPr/>
      <dgm:t>
        <a:bodyPr/>
        <a:lstStyle/>
        <a:p>
          <a:endParaRPr lang="de-DE"/>
        </a:p>
      </dgm:t>
    </dgm:pt>
    <dgm:pt modelId="{5DD5DAF2-2B60-4157-B08B-CB62BC54EBB8}">
      <dgm:prSet phldrT="[Text]"/>
      <dgm:spPr/>
      <dgm:t>
        <a:bodyPr/>
        <a:lstStyle/>
        <a:p>
          <a:r>
            <a:rPr lang="en-US" noProof="0" dirty="0" smtClean="0">
              <a:solidFill>
                <a:schemeClr val="tx1"/>
              </a:solidFill>
            </a:rPr>
            <a:t>All for one and one for all! During the projects the whole team is responsible for success and failures!!!</a:t>
          </a:r>
          <a:endParaRPr lang="en-US" noProof="0" dirty="0">
            <a:solidFill>
              <a:schemeClr val="tx1"/>
            </a:solidFill>
          </a:endParaRPr>
        </a:p>
      </dgm:t>
    </dgm:pt>
    <dgm:pt modelId="{A62C71D9-8218-42E7-9059-DA3CEA72A308}" type="parTrans" cxnId="{AC71F5B7-3CD1-4D7B-B8BA-DBCA92C26677}">
      <dgm:prSet/>
      <dgm:spPr/>
      <dgm:t>
        <a:bodyPr/>
        <a:lstStyle/>
        <a:p>
          <a:endParaRPr lang="de-DE"/>
        </a:p>
      </dgm:t>
    </dgm:pt>
    <dgm:pt modelId="{7F10764C-D3BD-453F-B044-E753B3BA7E91}" type="sibTrans" cxnId="{AC71F5B7-3CD1-4D7B-B8BA-DBCA92C26677}">
      <dgm:prSet/>
      <dgm:spPr/>
      <dgm:t>
        <a:bodyPr/>
        <a:lstStyle/>
        <a:p>
          <a:endParaRPr lang="de-DE"/>
        </a:p>
      </dgm:t>
    </dgm:pt>
    <dgm:pt modelId="{52AF9C4D-2241-4818-8B8B-DC29AB62BEEB}">
      <dgm:prSet phldrT="[Text]"/>
      <dgm:spPr/>
      <dgm:t>
        <a:bodyPr/>
        <a:lstStyle/>
        <a:p>
          <a:r>
            <a:rPr lang="en-US" noProof="0" dirty="0" smtClean="0">
              <a:solidFill>
                <a:schemeClr val="tx1"/>
              </a:solidFill>
            </a:rPr>
            <a:t>Trustful work and pro-active help and support on all sides to avoid obstacles and challenges</a:t>
          </a:r>
          <a:endParaRPr lang="en-US" noProof="0" dirty="0">
            <a:solidFill>
              <a:schemeClr val="tx1"/>
            </a:solidFill>
          </a:endParaRPr>
        </a:p>
      </dgm:t>
    </dgm:pt>
    <dgm:pt modelId="{11802FC5-9582-45E3-9A74-7203917E72C6}" type="parTrans" cxnId="{642D2FFC-E0E2-484F-94B5-CCB26CCD9757}">
      <dgm:prSet/>
      <dgm:spPr/>
      <dgm:t>
        <a:bodyPr/>
        <a:lstStyle/>
        <a:p>
          <a:endParaRPr lang="de-DE"/>
        </a:p>
      </dgm:t>
    </dgm:pt>
    <dgm:pt modelId="{EB99F55F-B105-4938-9CAA-231BA2DB7616}" type="sibTrans" cxnId="{642D2FFC-E0E2-484F-94B5-CCB26CCD9757}">
      <dgm:prSet/>
      <dgm:spPr/>
      <dgm:t>
        <a:bodyPr/>
        <a:lstStyle/>
        <a:p>
          <a:endParaRPr lang="de-DE"/>
        </a:p>
      </dgm:t>
    </dgm:pt>
    <dgm:pt modelId="{2AF27586-3741-4FF5-BA7A-F984A3771422}" type="pres">
      <dgm:prSet presAssocID="{3B6DFCDD-03B0-442F-9FA9-1D5898D5A014}" presName="linearFlow" presStyleCnt="0">
        <dgm:presLayoutVars>
          <dgm:dir/>
          <dgm:animLvl val="lvl"/>
          <dgm:resizeHandles val="exact"/>
        </dgm:presLayoutVars>
      </dgm:prSet>
      <dgm:spPr/>
      <dgm:t>
        <a:bodyPr/>
        <a:lstStyle/>
        <a:p>
          <a:endParaRPr lang="de-DE"/>
        </a:p>
      </dgm:t>
    </dgm:pt>
    <dgm:pt modelId="{1A368097-F110-44BF-8987-F7DB1A0DE3DE}" type="pres">
      <dgm:prSet presAssocID="{3B74857E-F155-43E0-9562-C54F50545BA1}" presName="composite" presStyleCnt="0"/>
      <dgm:spPr/>
    </dgm:pt>
    <dgm:pt modelId="{9A7C803D-3DE8-4174-AA74-797C37B007AA}" type="pres">
      <dgm:prSet presAssocID="{3B74857E-F155-43E0-9562-C54F50545BA1}" presName="parTx" presStyleLbl="node1" presStyleIdx="0" presStyleCnt="1">
        <dgm:presLayoutVars>
          <dgm:chMax val="0"/>
          <dgm:chPref val="0"/>
          <dgm:bulletEnabled val="1"/>
        </dgm:presLayoutVars>
      </dgm:prSet>
      <dgm:spPr/>
      <dgm:t>
        <a:bodyPr/>
        <a:lstStyle/>
        <a:p>
          <a:endParaRPr lang="de-DE"/>
        </a:p>
      </dgm:t>
    </dgm:pt>
    <dgm:pt modelId="{393E4132-E484-4200-A646-D492B5E2F234}" type="pres">
      <dgm:prSet presAssocID="{3B74857E-F155-43E0-9562-C54F50545BA1}" presName="parSh" presStyleLbl="node1" presStyleIdx="0" presStyleCnt="1"/>
      <dgm:spPr/>
      <dgm:t>
        <a:bodyPr/>
        <a:lstStyle/>
        <a:p>
          <a:endParaRPr lang="de-DE"/>
        </a:p>
      </dgm:t>
    </dgm:pt>
    <dgm:pt modelId="{98D2DBCA-262B-4BA5-86D0-7BD4704ED605}" type="pres">
      <dgm:prSet presAssocID="{3B74857E-F155-43E0-9562-C54F50545BA1}" presName="desTx" presStyleLbl="fgAcc1" presStyleIdx="0" presStyleCnt="1">
        <dgm:presLayoutVars>
          <dgm:bulletEnabled val="1"/>
        </dgm:presLayoutVars>
      </dgm:prSet>
      <dgm:spPr/>
      <dgm:t>
        <a:bodyPr/>
        <a:lstStyle/>
        <a:p>
          <a:endParaRPr lang="de-DE"/>
        </a:p>
      </dgm:t>
    </dgm:pt>
  </dgm:ptLst>
  <dgm:cxnLst>
    <dgm:cxn modelId="{AC71F5B7-3CD1-4D7B-B8BA-DBCA92C26677}" srcId="{3B74857E-F155-43E0-9562-C54F50545BA1}" destId="{5DD5DAF2-2B60-4157-B08B-CB62BC54EBB8}" srcOrd="3" destOrd="0" parTransId="{A62C71D9-8218-42E7-9059-DA3CEA72A308}" sibTransId="{7F10764C-D3BD-453F-B044-E753B3BA7E91}"/>
    <dgm:cxn modelId="{642D2FFC-E0E2-484F-94B5-CCB26CCD9757}" srcId="{3B74857E-F155-43E0-9562-C54F50545BA1}" destId="{52AF9C4D-2241-4818-8B8B-DC29AB62BEEB}" srcOrd="1" destOrd="0" parTransId="{11802FC5-9582-45E3-9A74-7203917E72C6}" sibTransId="{EB99F55F-B105-4938-9CAA-231BA2DB7616}"/>
    <dgm:cxn modelId="{F06F1C35-B990-4BF1-A70E-1FE57952978B}" type="presOf" srcId="{3B6DFCDD-03B0-442F-9FA9-1D5898D5A014}" destId="{2AF27586-3741-4FF5-BA7A-F984A3771422}" srcOrd="0" destOrd="0" presId="urn:microsoft.com/office/officeart/2005/8/layout/process3"/>
    <dgm:cxn modelId="{6B9E6D7F-DB94-4D22-89D7-89A93BDC6F1B}" srcId="{3B74857E-F155-43E0-9562-C54F50545BA1}" destId="{F904B1A7-4F68-4EC6-8235-2D4C6D94F973}" srcOrd="0" destOrd="0" parTransId="{340F2935-AF18-4467-BA79-9EBC37931B7D}" sibTransId="{0821C39B-7144-4FD9-A049-1605DD280F8F}"/>
    <dgm:cxn modelId="{5C7BC4AD-1DF5-41F1-9025-18D7702BFAAD}" type="presOf" srcId="{F904B1A7-4F68-4EC6-8235-2D4C6D94F973}" destId="{98D2DBCA-262B-4BA5-86D0-7BD4704ED605}" srcOrd="0" destOrd="0" presId="urn:microsoft.com/office/officeart/2005/8/layout/process3"/>
    <dgm:cxn modelId="{B1F9D05B-7721-4383-9A0A-EE137F6D2932}" type="presOf" srcId="{5DD5DAF2-2B60-4157-B08B-CB62BC54EBB8}" destId="{98D2DBCA-262B-4BA5-86D0-7BD4704ED605}" srcOrd="0" destOrd="3" presId="urn:microsoft.com/office/officeart/2005/8/layout/process3"/>
    <dgm:cxn modelId="{D932903A-C4BD-4281-B504-35D549584804}" srcId="{3B6DFCDD-03B0-442F-9FA9-1D5898D5A014}" destId="{3B74857E-F155-43E0-9562-C54F50545BA1}" srcOrd="0" destOrd="0" parTransId="{986C5839-1E2A-474F-909D-3B397BECE21B}" sibTransId="{704FCE76-4951-432B-99C1-C688B024BA3C}"/>
    <dgm:cxn modelId="{7C62162D-89F8-4E6A-A7E1-61C196952A98}" type="presOf" srcId="{3B74857E-F155-43E0-9562-C54F50545BA1}" destId="{393E4132-E484-4200-A646-D492B5E2F234}" srcOrd="1" destOrd="0" presId="urn:microsoft.com/office/officeart/2005/8/layout/process3"/>
    <dgm:cxn modelId="{34C68685-B30C-4923-A788-5D874C7DF84C}" type="presOf" srcId="{3B74857E-F155-43E0-9562-C54F50545BA1}" destId="{9A7C803D-3DE8-4174-AA74-797C37B007AA}" srcOrd="0" destOrd="0" presId="urn:microsoft.com/office/officeart/2005/8/layout/process3"/>
    <dgm:cxn modelId="{C449143D-3C8E-4BB6-9363-72F672F4B9E9}" type="presOf" srcId="{52AF9C4D-2241-4818-8B8B-DC29AB62BEEB}" destId="{98D2DBCA-262B-4BA5-86D0-7BD4704ED605}" srcOrd="0" destOrd="1" presId="urn:microsoft.com/office/officeart/2005/8/layout/process3"/>
    <dgm:cxn modelId="{8EEE7192-3B53-4AEB-BEEA-F7A012D60917}" srcId="{3B74857E-F155-43E0-9562-C54F50545BA1}" destId="{13BDB132-017D-4C6A-873B-DDFB7C12AB32}" srcOrd="2" destOrd="0" parTransId="{BFF81ECD-C0C1-4B36-8C79-29B04BAD4789}" sibTransId="{BDA6C3BD-4224-47E2-B5A2-D9C09355745E}"/>
    <dgm:cxn modelId="{7E42AAB9-9F55-4F9E-9D0C-B0B2B7EABCCC}" type="presOf" srcId="{13BDB132-017D-4C6A-873B-DDFB7C12AB32}" destId="{98D2DBCA-262B-4BA5-86D0-7BD4704ED605}" srcOrd="0" destOrd="2" presId="urn:microsoft.com/office/officeart/2005/8/layout/process3"/>
    <dgm:cxn modelId="{5E35D431-063B-4FEB-B24F-11A5614F21ED}" type="presParOf" srcId="{2AF27586-3741-4FF5-BA7A-F984A3771422}" destId="{1A368097-F110-44BF-8987-F7DB1A0DE3DE}" srcOrd="0" destOrd="0" presId="urn:microsoft.com/office/officeart/2005/8/layout/process3"/>
    <dgm:cxn modelId="{CE5150AC-7B39-4DD6-83A7-785B5B689BDF}" type="presParOf" srcId="{1A368097-F110-44BF-8987-F7DB1A0DE3DE}" destId="{9A7C803D-3DE8-4174-AA74-797C37B007AA}" srcOrd="0" destOrd="0" presId="urn:microsoft.com/office/officeart/2005/8/layout/process3"/>
    <dgm:cxn modelId="{66AEA28D-A2E0-427D-9210-0F8D741C5899}" type="presParOf" srcId="{1A368097-F110-44BF-8987-F7DB1A0DE3DE}" destId="{393E4132-E484-4200-A646-D492B5E2F234}" srcOrd="1" destOrd="0" presId="urn:microsoft.com/office/officeart/2005/8/layout/process3"/>
    <dgm:cxn modelId="{EE4A3A61-D8DB-42FA-A230-CA2313E5B2E4}" type="presParOf" srcId="{1A368097-F110-44BF-8987-F7DB1A0DE3DE}" destId="{98D2DBCA-262B-4BA5-86D0-7BD4704ED605}" srcOrd="2" destOrd="0" presId="urn:microsoft.com/office/officeart/2005/8/layout/process3"/>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F73B4CD-125E-4222-A526-C7F55D6815E8}">
      <dsp:nvSpPr>
        <dsp:cNvPr id="0" name=""/>
        <dsp:cNvSpPr/>
      </dsp:nvSpPr>
      <dsp:spPr>
        <a:xfrm>
          <a:off x="0" y="404857"/>
          <a:ext cx="6435725" cy="963900"/>
        </a:xfrm>
        <a:prstGeom prst="rect">
          <a:avLst/>
        </a:prstGeom>
        <a:solidFill>
          <a:schemeClr val="lt1">
            <a:alpha val="90000"/>
            <a:hueOff val="0"/>
            <a:satOff val="0"/>
            <a:lumOff val="0"/>
            <a:alphaOff val="0"/>
          </a:schemeClr>
        </a:solidFill>
        <a:ln w="12700" cap="rnd"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484" tIns="354076" rIns="4994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noProof="0" dirty="0" smtClean="0"/>
            <a:t>No detailed specification in former projects available</a:t>
          </a:r>
          <a:endParaRPr lang="en-US" sz="1700" kern="1200" noProof="0" dirty="0"/>
        </a:p>
        <a:p>
          <a:pPr marL="171450" lvl="1" indent="-171450" algn="l" defTabSz="755650">
            <a:lnSpc>
              <a:spcPct val="90000"/>
            </a:lnSpc>
            <a:spcBef>
              <a:spcPct val="0"/>
            </a:spcBef>
            <a:spcAft>
              <a:spcPct val="15000"/>
            </a:spcAft>
            <a:buChar char="••"/>
          </a:pPr>
          <a:r>
            <a:rPr lang="en-US" sz="1700" kern="1200" noProof="0" dirty="0" smtClean="0"/>
            <a:t>…</a:t>
          </a:r>
          <a:endParaRPr lang="en-US" sz="1700" kern="1200" noProof="0" dirty="0"/>
        </a:p>
      </dsp:txBody>
      <dsp:txXfrm>
        <a:off x="0" y="404857"/>
        <a:ext cx="6435725" cy="963900"/>
      </dsp:txXfrm>
    </dsp:sp>
    <dsp:sp modelId="{A885F1C4-6277-4D36-9C9E-2DE3B4954362}">
      <dsp:nvSpPr>
        <dsp:cNvPr id="0" name=""/>
        <dsp:cNvSpPr/>
      </dsp:nvSpPr>
      <dsp:spPr>
        <a:xfrm>
          <a:off x="321786" y="142588"/>
          <a:ext cx="4505007" cy="501840"/>
        </a:xfrm>
        <a:prstGeom prst="roundRect">
          <a:avLst/>
        </a:prstGeom>
        <a:solidFill>
          <a:schemeClr val="accent4">
            <a:alpha val="90000"/>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279" tIns="0" rIns="170279" bIns="0" numCol="1" spcCol="1270" anchor="ctr" anchorCtr="0">
          <a:noAutofit/>
        </a:bodyPr>
        <a:lstStyle/>
        <a:p>
          <a:pPr lvl="0" algn="l" defTabSz="755650">
            <a:lnSpc>
              <a:spcPct val="90000"/>
            </a:lnSpc>
            <a:spcBef>
              <a:spcPct val="0"/>
            </a:spcBef>
            <a:spcAft>
              <a:spcPct val="35000"/>
            </a:spcAft>
          </a:pPr>
          <a:r>
            <a:rPr lang="en-US" sz="1700" b="1" kern="1200" noProof="0" dirty="0" smtClean="0"/>
            <a:t>Status Quo</a:t>
          </a:r>
          <a:endParaRPr lang="en-US" sz="1700" b="1" kern="1200" noProof="0" dirty="0"/>
        </a:p>
      </dsp:txBody>
      <dsp:txXfrm>
        <a:off x="321786" y="142588"/>
        <a:ext cx="4505007" cy="501840"/>
      </dsp:txXfrm>
    </dsp:sp>
    <dsp:sp modelId="{970CDC8F-3F3D-403A-961D-13C07039E9B0}">
      <dsp:nvSpPr>
        <dsp:cNvPr id="0" name=""/>
        <dsp:cNvSpPr/>
      </dsp:nvSpPr>
      <dsp:spPr>
        <a:xfrm>
          <a:off x="0" y="1700128"/>
          <a:ext cx="6435725" cy="1231650"/>
        </a:xfrm>
        <a:prstGeom prst="rect">
          <a:avLst/>
        </a:prstGeom>
        <a:solidFill>
          <a:schemeClr val="lt1">
            <a:alpha val="90000"/>
            <a:hueOff val="0"/>
            <a:satOff val="0"/>
            <a:lumOff val="0"/>
            <a:alphaOff val="0"/>
          </a:schemeClr>
        </a:solidFill>
        <a:ln w="12700" cap="rnd" cmpd="sng" algn="ctr">
          <a:solidFill>
            <a:schemeClr val="accent4">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484" tIns="354076" rIns="499484" bIns="120904" numCol="1" spcCol="1270" anchor="t" anchorCtr="0">
          <a:noAutofit/>
        </a:bodyPr>
        <a:lstStyle/>
        <a:p>
          <a:pPr marL="171450" lvl="1" indent="-171450" algn="l" defTabSz="755650">
            <a:lnSpc>
              <a:spcPct val="90000"/>
            </a:lnSpc>
            <a:spcBef>
              <a:spcPct val="0"/>
            </a:spcBef>
            <a:spcAft>
              <a:spcPct val="15000"/>
            </a:spcAft>
            <a:buChar char="••"/>
          </a:pPr>
          <a:r>
            <a:rPr lang="en-US" sz="1700" b="1" kern="1200" noProof="0" dirty="0" smtClean="0"/>
            <a:t>High complex and sophisticated tools</a:t>
          </a:r>
          <a:endParaRPr lang="en-US" sz="1700" b="0" kern="1200" noProof="0" dirty="0"/>
        </a:p>
        <a:p>
          <a:pPr marL="171450" lvl="1" indent="-171450" algn="l" defTabSz="755650">
            <a:lnSpc>
              <a:spcPct val="90000"/>
            </a:lnSpc>
            <a:spcBef>
              <a:spcPct val="0"/>
            </a:spcBef>
            <a:spcAft>
              <a:spcPct val="15000"/>
            </a:spcAft>
            <a:buChar char="••"/>
          </a:pPr>
          <a:r>
            <a:rPr lang="en-US" sz="1700" b="0" kern="1200" noProof="0" dirty="0" smtClean="0"/>
            <a:t>Fulfillment of KPMG regulatory from IT Risk (global!)</a:t>
          </a:r>
          <a:endParaRPr lang="en-US" sz="1700" b="0" kern="1200" noProof="0" dirty="0"/>
        </a:p>
        <a:p>
          <a:pPr marL="171450" lvl="1" indent="-171450" algn="l" defTabSz="755650">
            <a:lnSpc>
              <a:spcPct val="90000"/>
            </a:lnSpc>
            <a:spcBef>
              <a:spcPct val="0"/>
            </a:spcBef>
            <a:spcAft>
              <a:spcPct val="15000"/>
            </a:spcAft>
            <a:buChar char="••"/>
          </a:pPr>
          <a:r>
            <a:rPr lang="en-US" sz="1700" b="1" kern="1200" noProof="0" dirty="0" smtClean="0"/>
            <a:t>…</a:t>
          </a:r>
          <a:endParaRPr lang="en-US" sz="1700" b="0" kern="1200" noProof="0" dirty="0"/>
        </a:p>
      </dsp:txBody>
      <dsp:txXfrm>
        <a:off x="0" y="1700128"/>
        <a:ext cx="6435725" cy="1231650"/>
      </dsp:txXfrm>
    </dsp:sp>
    <dsp:sp modelId="{D87DF3E9-7EDE-43FA-8C2D-D316A26B1E8F}">
      <dsp:nvSpPr>
        <dsp:cNvPr id="0" name=""/>
        <dsp:cNvSpPr/>
      </dsp:nvSpPr>
      <dsp:spPr>
        <a:xfrm>
          <a:off x="321786" y="1449208"/>
          <a:ext cx="4505007" cy="501840"/>
        </a:xfrm>
        <a:prstGeom prst="roundRect">
          <a:avLst/>
        </a:prstGeom>
        <a:solidFill>
          <a:schemeClr val="accent4">
            <a:alpha val="90000"/>
            <a:hueOff val="0"/>
            <a:satOff val="0"/>
            <a:lumOff val="0"/>
            <a:alphaOff val="-2000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279" tIns="0" rIns="170279" bIns="0" numCol="1" spcCol="1270" anchor="ctr" anchorCtr="0">
          <a:noAutofit/>
        </a:bodyPr>
        <a:lstStyle/>
        <a:p>
          <a:pPr lvl="0" algn="l" defTabSz="755650">
            <a:lnSpc>
              <a:spcPct val="90000"/>
            </a:lnSpc>
            <a:spcBef>
              <a:spcPct val="0"/>
            </a:spcBef>
            <a:spcAft>
              <a:spcPct val="35000"/>
            </a:spcAft>
          </a:pPr>
          <a:r>
            <a:rPr lang="en-US" sz="1700" b="1" kern="1200" noProof="0" dirty="0" smtClean="0"/>
            <a:t>Challenge</a:t>
          </a:r>
          <a:endParaRPr lang="en-US" sz="1700" b="1" kern="1200" noProof="0" dirty="0"/>
        </a:p>
      </dsp:txBody>
      <dsp:txXfrm>
        <a:off x="321786" y="1449208"/>
        <a:ext cx="4505007" cy="501840"/>
      </dsp:txXfrm>
    </dsp:sp>
    <dsp:sp modelId="{C39C504B-DE52-479D-9D6A-A35A34C5A134}">
      <dsp:nvSpPr>
        <dsp:cNvPr id="0" name=""/>
        <dsp:cNvSpPr/>
      </dsp:nvSpPr>
      <dsp:spPr>
        <a:xfrm>
          <a:off x="0" y="3274498"/>
          <a:ext cx="6435725" cy="1499400"/>
        </a:xfrm>
        <a:prstGeom prst="rect">
          <a:avLst/>
        </a:prstGeom>
        <a:solidFill>
          <a:schemeClr val="lt1">
            <a:alpha val="90000"/>
            <a:hueOff val="0"/>
            <a:satOff val="0"/>
            <a:lumOff val="0"/>
            <a:alphaOff val="0"/>
          </a:schemeClr>
        </a:solidFill>
        <a:ln w="12700" cap="rnd" cmpd="sng" algn="ctr">
          <a:solidFill>
            <a:schemeClr val="accent4">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484" tIns="354076" rIns="499484" bIns="120904" numCol="1" spcCol="1270" anchor="t" anchorCtr="0">
          <a:noAutofit/>
        </a:bodyPr>
        <a:lstStyle/>
        <a:p>
          <a:pPr marL="171450" lvl="1" indent="-171450" algn="l" defTabSz="755650">
            <a:lnSpc>
              <a:spcPct val="90000"/>
            </a:lnSpc>
            <a:spcBef>
              <a:spcPct val="0"/>
            </a:spcBef>
            <a:spcAft>
              <a:spcPct val="15000"/>
            </a:spcAft>
            <a:buChar char="••"/>
          </a:pPr>
          <a:r>
            <a:rPr lang="en-US" sz="1700" b="1" kern="1200" noProof="0" dirty="0" smtClean="0"/>
            <a:t>100% quality and roll-out at January 2013</a:t>
          </a:r>
          <a:endParaRPr lang="en-US" sz="1700" b="1" kern="1200" noProof="0" dirty="0"/>
        </a:p>
        <a:p>
          <a:pPr marL="171450" lvl="1" indent="-171450" algn="l" defTabSz="755650">
            <a:lnSpc>
              <a:spcPct val="90000"/>
            </a:lnSpc>
            <a:spcBef>
              <a:spcPct val="0"/>
            </a:spcBef>
            <a:spcAft>
              <a:spcPct val="15000"/>
            </a:spcAft>
            <a:buChar char="••"/>
          </a:pPr>
          <a:r>
            <a:rPr lang="en-US" sz="1700" b="1" kern="1200" noProof="0" dirty="0" smtClean="0"/>
            <a:t>Clear defined specifications</a:t>
          </a:r>
          <a:endParaRPr lang="en-US" sz="1700" b="1" kern="1200" noProof="0" dirty="0"/>
        </a:p>
        <a:p>
          <a:pPr marL="171450" lvl="1" indent="-171450" algn="l" defTabSz="755650">
            <a:lnSpc>
              <a:spcPct val="90000"/>
            </a:lnSpc>
            <a:spcBef>
              <a:spcPct val="0"/>
            </a:spcBef>
            <a:spcAft>
              <a:spcPct val="15000"/>
            </a:spcAft>
            <a:buChar char="••"/>
          </a:pPr>
          <a:r>
            <a:rPr lang="en-US" sz="1700" b="1" kern="1200" noProof="0" dirty="0" smtClean="0"/>
            <a:t>Internal project/product manager</a:t>
          </a:r>
          <a:endParaRPr lang="en-US" sz="1700" b="1" kern="1200" noProof="0" dirty="0"/>
        </a:p>
        <a:p>
          <a:pPr marL="171450" lvl="1" indent="-171450" algn="l" defTabSz="755650">
            <a:lnSpc>
              <a:spcPct val="90000"/>
            </a:lnSpc>
            <a:spcBef>
              <a:spcPct val="0"/>
            </a:spcBef>
            <a:spcAft>
              <a:spcPct val="15000"/>
            </a:spcAft>
            <a:buChar char="••"/>
          </a:pPr>
          <a:r>
            <a:rPr lang="en-US" sz="1700" b="1" kern="1200" noProof="0" dirty="0" smtClean="0"/>
            <a:t>Project Management behavior of SPs</a:t>
          </a:r>
          <a:endParaRPr lang="en-US" sz="1700" b="1" kern="1200" noProof="0" dirty="0"/>
        </a:p>
      </dsp:txBody>
      <dsp:txXfrm>
        <a:off x="0" y="3274498"/>
        <a:ext cx="6435725" cy="1499400"/>
      </dsp:txXfrm>
    </dsp:sp>
    <dsp:sp modelId="{0D4348BF-27F7-41EE-A0BF-C63A15D88782}">
      <dsp:nvSpPr>
        <dsp:cNvPr id="0" name=""/>
        <dsp:cNvSpPr/>
      </dsp:nvSpPr>
      <dsp:spPr>
        <a:xfrm>
          <a:off x="321786" y="3023578"/>
          <a:ext cx="4505007" cy="501840"/>
        </a:xfrm>
        <a:prstGeom prst="roundRect">
          <a:avLst/>
        </a:prstGeom>
        <a:solidFill>
          <a:schemeClr val="accent4">
            <a:alpha val="90000"/>
            <a:hueOff val="0"/>
            <a:satOff val="0"/>
            <a:lumOff val="0"/>
            <a:alphaOff val="-4000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279" tIns="0" rIns="170279" bIns="0" numCol="1" spcCol="1270" anchor="ctr" anchorCtr="0">
          <a:noAutofit/>
        </a:bodyPr>
        <a:lstStyle/>
        <a:p>
          <a:pPr lvl="0" algn="l" defTabSz="755650">
            <a:lnSpc>
              <a:spcPct val="90000"/>
            </a:lnSpc>
            <a:spcBef>
              <a:spcPct val="0"/>
            </a:spcBef>
            <a:spcAft>
              <a:spcPct val="35000"/>
            </a:spcAft>
          </a:pPr>
          <a:r>
            <a:rPr lang="en-US" sz="1700" b="1" kern="1200" noProof="0" dirty="0" smtClean="0"/>
            <a:t>Strategic Direction</a:t>
          </a:r>
          <a:endParaRPr lang="en-US" sz="1700" b="1" kern="1200" noProof="0" dirty="0"/>
        </a:p>
      </dsp:txBody>
      <dsp:txXfrm>
        <a:off x="321786" y="3023578"/>
        <a:ext cx="4505007" cy="50184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93E4132-E484-4200-A646-D492B5E2F234}">
      <dsp:nvSpPr>
        <dsp:cNvPr id="0" name=""/>
        <dsp:cNvSpPr/>
      </dsp:nvSpPr>
      <dsp:spPr>
        <a:xfrm>
          <a:off x="4656" y="10531"/>
          <a:ext cx="2117031" cy="518399"/>
        </a:xfrm>
        <a:prstGeom prst="roundRect">
          <a:avLst>
            <a:gd name="adj" fmla="val 10000"/>
          </a:avLst>
        </a:prstGeom>
        <a:solidFill>
          <a:schemeClr val="accent4"/>
        </a:solidFill>
        <a:ln w="12700" cap="rnd"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lvl="0" algn="l" defTabSz="622300">
            <a:lnSpc>
              <a:spcPct val="90000"/>
            </a:lnSpc>
            <a:spcBef>
              <a:spcPct val="0"/>
            </a:spcBef>
            <a:spcAft>
              <a:spcPct val="35000"/>
            </a:spcAft>
          </a:pPr>
          <a:r>
            <a:rPr lang="de-DE" sz="1400" b="1" kern="1200" dirty="0" smtClean="0">
              <a:solidFill>
                <a:schemeClr val="bg1"/>
              </a:solidFill>
            </a:rPr>
            <a:t>ONE</a:t>
          </a:r>
          <a:endParaRPr lang="de-DE" sz="1400" b="1" kern="1200" dirty="0">
            <a:solidFill>
              <a:schemeClr val="bg1"/>
            </a:solidFill>
          </a:endParaRPr>
        </a:p>
      </dsp:txBody>
      <dsp:txXfrm>
        <a:off x="4656" y="10531"/>
        <a:ext cx="2117031" cy="345600"/>
      </dsp:txXfrm>
    </dsp:sp>
    <dsp:sp modelId="{98D2DBCA-262B-4BA5-86D0-7BD4704ED605}">
      <dsp:nvSpPr>
        <dsp:cNvPr id="0" name=""/>
        <dsp:cNvSpPr/>
      </dsp:nvSpPr>
      <dsp:spPr>
        <a:xfrm>
          <a:off x="438264" y="356131"/>
          <a:ext cx="2117031" cy="2851200"/>
        </a:xfrm>
        <a:prstGeom prst="roundRect">
          <a:avLst>
            <a:gd name="adj" fmla="val 10000"/>
          </a:avLst>
        </a:prstGeom>
        <a:solidFill>
          <a:schemeClr val="dk2">
            <a:alpha val="90000"/>
            <a:tint val="4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noProof="0" dirty="0" smtClean="0">
              <a:solidFill>
                <a:schemeClr val="tx1"/>
              </a:solidFill>
            </a:rPr>
            <a:t>Provide clear view on </a:t>
          </a:r>
          <a:r>
            <a:rPr lang="en-US" sz="1200" kern="1200" noProof="0" dirty="0" err="1" smtClean="0">
              <a:solidFill>
                <a:schemeClr val="tx1"/>
              </a:solidFill>
            </a:rPr>
            <a:t>regulatories</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r>
            <a:rPr lang="en-US" sz="1200" kern="1200" noProof="0" dirty="0" smtClean="0">
              <a:solidFill>
                <a:schemeClr val="tx1"/>
              </a:solidFill>
            </a:rPr>
            <a:t>Ensure secure contracts</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r>
            <a:rPr lang="en-US" sz="1200" kern="1200" noProof="0" dirty="0" smtClean="0">
              <a:solidFill>
                <a:schemeClr val="tx1"/>
              </a:solidFill>
            </a:rPr>
            <a:t>Release payments</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r>
            <a:rPr lang="en-US" sz="1200" kern="1200" noProof="0" dirty="0" smtClean="0">
              <a:solidFill>
                <a:schemeClr val="tx1"/>
              </a:solidFill>
            </a:rPr>
            <a:t>Part of Steering Committee</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r>
            <a:rPr lang="de-DE" sz="1200" kern="1200" noProof="0" dirty="0" err="1" smtClean="0">
              <a:solidFill>
                <a:schemeClr val="tx1"/>
              </a:solidFill>
            </a:rPr>
            <a:t>Alignment</a:t>
          </a:r>
          <a:r>
            <a:rPr lang="de-DE" sz="1200" kern="1200" noProof="0" dirty="0" smtClean="0">
              <a:solidFill>
                <a:schemeClr val="tx1"/>
              </a:solidFill>
            </a:rPr>
            <a:t> </a:t>
          </a:r>
          <a:r>
            <a:rPr lang="de-DE" sz="1200" kern="1200" noProof="0" dirty="0" err="1" smtClean="0">
              <a:solidFill>
                <a:schemeClr val="tx1"/>
              </a:solidFill>
            </a:rPr>
            <a:t>of</a:t>
          </a:r>
          <a:r>
            <a:rPr lang="de-DE" sz="1200" kern="1200" noProof="0" dirty="0" smtClean="0">
              <a:solidFill>
                <a:schemeClr val="tx1"/>
              </a:solidFill>
            </a:rPr>
            <a:t> QA/QM </a:t>
          </a:r>
          <a:r>
            <a:rPr lang="de-DE" sz="1200" kern="1200" noProof="0" dirty="0" err="1" smtClean="0">
              <a:solidFill>
                <a:schemeClr val="tx1"/>
              </a:solidFill>
            </a:rPr>
            <a:t>with</a:t>
          </a:r>
          <a:r>
            <a:rPr lang="de-DE" sz="1200" kern="1200" noProof="0" dirty="0" smtClean="0">
              <a:solidFill>
                <a:schemeClr val="tx1"/>
              </a:solidFill>
            </a:rPr>
            <a:t> ONE</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r>
            <a:rPr lang="de-DE" sz="1200" kern="1200" noProof="0" dirty="0" smtClean="0">
              <a:solidFill>
                <a:schemeClr val="tx1"/>
              </a:solidFill>
            </a:rPr>
            <a:t>Finale </a:t>
          </a:r>
          <a:r>
            <a:rPr lang="de-DE" sz="1200" kern="1200" noProof="0" dirty="0" err="1" smtClean="0">
              <a:solidFill>
                <a:schemeClr val="tx1"/>
              </a:solidFill>
            </a:rPr>
            <a:t>realease</a:t>
          </a:r>
          <a:r>
            <a:rPr lang="de-DE" sz="1200" kern="1200" noProof="0" dirty="0" smtClean="0">
              <a:solidFill>
                <a:schemeClr val="tx1"/>
              </a:solidFill>
            </a:rPr>
            <a:t> </a:t>
          </a:r>
          <a:r>
            <a:rPr lang="de-DE" sz="1200" kern="1200" noProof="0" dirty="0" err="1" smtClean="0">
              <a:solidFill>
                <a:schemeClr val="tx1"/>
              </a:solidFill>
            </a:rPr>
            <a:t>of</a:t>
          </a:r>
          <a:r>
            <a:rPr lang="de-DE" sz="1200" kern="1200" noProof="0" dirty="0" smtClean="0">
              <a:solidFill>
                <a:schemeClr val="tx1"/>
              </a:solidFill>
            </a:rPr>
            <a:t> </a:t>
          </a:r>
          <a:r>
            <a:rPr lang="de-DE" sz="1200" kern="1200" noProof="0" dirty="0" err="1" smtClean="0">
              <a:solidFill>
                <a:schemeClr val="tx1"/>
              </a:solidFill>
            </a:rPr>
            <a:t>Build</a:t>
          </a:r>
          <a:r>
            <a:rPr lang="de-DE" sz="1200" kern="1200" noProof="0" dirty="0" smtClean="0">
              <a:solidFill>
                <a:schemeClr val="tx1"/>
              </a:solidFill>
            </a:rPr>
            <a:t>/Updates Initials on </a:t>
          </a:r>
          <a:r>
            <a:rPr lang="de-DE" sz="1200" kern="1200" noProof="0" dirty="0" err="1" smtClean="0">
              <a:solidFill>
                <a:schemeClr val="tx1"/>
              </a:solidFill>
            </a:rPr>
            <a:t>BrainNet</a:t>
          </a:r>
          <a:r>
            <a:rPr lang="de-DE" sz="1200" kern="1200" noProof="0" dirty="0" smtClean="0">
              <a:solidFill>
                <a:schemeClr val="tx1"/>
              </a:solidFill>
            </a:rPr>
            <a:t>/KPMG </a:t>
          </a:r>
          <a:r>
            <a:rPr lang="de-DE" sz="1200" kern="1200" noProof="0" dirty="0" err="1" smtClean="0">
              <a:solidFill>
                <a:schemeClr val="tx1"/>
              </a:solidFill>
            </a:rPr>
            <a:t>Architecture</a:t>
          </a:r>
          <a:endParaRPr lang="de-DE" sz="1200" kern="1200" noProof="0" dirty="0" smtClean="0">
            <a:solidFill>
              <a:schemeClr val="tx1"/>
            </a:solidFill>
          </a:endParaRPr>
        </a:p>
        <a:p>
          <a:pPr marL="114300" lvl="1" indent="-114300" algn="l" defTabSz="533400">
            <a:lnSpc>
              <a:spcPct val="90000"/>
            </a:lnSpc>
            <a:spcBef>
              <a:spcPct val="0"/>
            </a:spcBef>
            <a:spcAft>
              <a:spcPct val="15000"/>
            </a:spcAft>
            <a:buChar char="••"/>
          </a:pPr>
          <a:r>
            <a:rPr lang="en-US" sz="1200" kern="1200" noProof="0" dirty="0" smtClean="0">
              <a:solidFill>
                <a:schemeClr val="tx1"/>
              </a:solidFill>
            </a:rPr>
            <a:t>Overall technical Responsibility and </a:t>
          </a:r>
          <a:r>
            <a:rPr lang="en-US" sz="1200" kern="1200" noProof="0" dirty="0" err="1" smtClean="0">
              <a:solidFill>
                <a:schemeClr val="tx1"/>
              </a:solidFill>
            </a:rPr>
            <a:t>Budgetmanagement</a:t>
          </a:r>
          <a:endParaRPr lang="de-DE" sz="1200" kern="1200" noProof="0" dirty="0" smtClean="0">
            <a:solidFill>
              <a:schemeClr val="tx1"/>
            </a:solidFill>
          </a:endParaRPr>
        </a:p>
      </dsp:txBody>
      <dsp:txXfrm>
        <a:off x="438264" y="356131"/>
        <a:ext cx="2117031" cy="2851200"/>
      </dsp:txXfrm>
    </dsp:sp>
    <dsp:sp modelId="{62CE422F-C2C1-4952-AB1C-926D0177676F}">
      <dsp:nvSpPr>
        <dsp:cNvPr id="0" name=""/>
        <dsp:cNvSpPr/>
      </dsp:nvSpPr>
      <dsp:spPr>
        <a:xfrm>
          <a:off x="2442621" y="-80208"/>
          <a:ext cx="680380" cy="527079"/>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de-DE" sz="1000" kern="1200"/>
        </a:p>
      </dsp:txBody>
      <dsp:txXfrm>
        <a:off x="2442621" y="-80208"/>
        <a:ext cx="680380" cy="527079"/>
      </dsp:txXfrm>
    </dsp:sp>
    <dsp:sp modelId="{7CBC046B-028E-44E0-A4BF-909BDBD2EAE2}">
      <dsp:nvSpPr>
        <dsp:cNvPr id="0" name=""/>
        <dsp:cNvSpPr/>
      </dsp:nvSpPr>
      <dsp:spPr>
        <a:xfrm>
          <a:off x="3405424" y="10531"/>
          <a:ext cx="2117031" cy="518399"/>
        </a:xfrm>
        <a:prstGeom prst="roundRect">
          <a:avLst>
            <a:gd name="adj" fmla="val 10000"/>
          </a:avLst>
        </a:prstGeom>
        <a:solidFill>
          <a:schemeClr val="accent4"/>
        </a:solidFill>
        <a:ln w="12700" cap="rnd"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lvl="0" algn="l" defTabSz="622300">
            <a:lnSpc>
              <a:spcPct val="90000"/>
            </a:lnSpc>
            <a:spcBef>
              <a:spcPct val="0"/>
            </a:spcBef>
            <a:spcAft>
              <a:spcPct val="35000"/>
            </a:spcAft>
          </a:pPr>
          <a:r>
            <a:rPr lang="de-DE" sz="1400" b="1" kern="1200" dirty="0" smtClean="0">
              <a:solidFill>
                <a:schemeClr val="bg1"/>
              </a:solidFill>
            </a:rPr>
            <a:t>PQM</a:t>
          </a:r>
          <a:endParaRPr lang="de-DE" sz="1400" b="1" kern="1200" dirty="0">
            <a:solidFill>
              <a:schemeClr val="bg1"/>
            </a:solidFill>
          </a:endParaRPr>
        </a:p>
      </dsp:txBody>
      <dsp:txXfrm>
        <a:off x="3405424" y="10531"/>
        <a:ext cx="2117031" cy="345600"/>
      </dsp:txXfrm>
    </dsp:sp>
    <dsp:sp modelId="{3CB5B44D-C16A-42E5-BFC0-58979C8CF32C}">
      <dsp:nvSpPr>
        <dsp:cNvPr id="0" name=""/>
        <dsp:cNvSpPr/>
      </dsp:nvSpPr>
      <dsp:spPr>
        <a:xfrm>
          <a:off x="3839032" y="356131"/>
          <a:ext cx="2117031" cy="2851200"/>
        </a:xfrm>
        <a:prstGeom prst="roundRect">
          <a:avLst>
            <a:gd name="adj" fmla="val 10000"/>
          </a:avLst>
        </a:prstGeom>
        <a:solidFill>
          <a:schemeClr val="dk2">
            <a:alpha val="90000"/>
            <a:tint val="4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noProof="0" dirty="0" smtClean="0">
              <a:solidFill>
                <a:schemeClr val="tx1"/>
              </a:solidFill>
            </a:rPr>
            <a:t>Project Owner / Progress Tracking</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Release and approval of deliverables</a:t>
          </a:r>
          <a:endParaRPr lang="en-US" sz="1200" kern="1200" noProof="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Gate Keeper and first instance of tests </a:t>
          </a:r>
          <a:endParaRPr lang="en-US" sz="1200" kern="1200" noProof="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First level support for SPs</a:t>
          </a:r>
          <a:endParaRPr lang="en-US" sz="1200" kern="1200" noProof="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Provide clear specifications and requirements</a:t>
          </a:r>
          <a:endParaRPr lang="en-US" sz="1200" kern="1200" noProof="0">
            <a:solidFill>
              <a:schemeClr val="tx1"/>
            </a:solidFill>
          </a:endParaRPr>
        </a:p>
      </dsp:txBody>
      <dsp:txXfrm>
        <a:off x="3839032" y="356131"/>
        <a:ext cx="2117031" cy="2851200"/>
      </dsp:txXfrm>
    </dsp:sp>
    <dsp:sp modelId="{01D778CF-5FF1-4230-ABCA-EB364CF44550}">
      <dsp:nvSpPr>
        <dsp:cNvPr id="0" name=""/>
        <dsp:cNvSpPr/>
      </dsp:nvSpPr>
      <dsp:spPr>
        <a:xfrm>
          <a:off x="5843389" y="-80208"/>
          <a:ext cx="680380" cy="527079"/>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de-DE" sz="1000" kern="1200"/>
        </a:p>
      </dsp:txBody>
      <dsp:txXfrm>
        <a:off x="5843389" y="-80208"/>
        <a:ext cx="680380" cy="527079"/>
      </dsp:txXfrm>
    </dsp:sp>
    <dsp:sp modelId="{BB036E75-5E2F-48A4-8CD3-A793F2BB19F1}">
      <dsp:nvSpPr>
        <dsp:cNvPr id="0" name=""/>
        <dsp:cNvSpPr/>
      </dsp:nvSpPr>
      <dsp:spPr>
        <a:xfrm>
          <a:off x="6806192" y="10531"/>
          <a:ext cx="2117031" cy="518399"/>
        </a:xfrm>
        <a:prstGeom prst="roundRect">
          <a:avLst>
            <a:gd name="adj" fmla="val 10000"/>
          </a:avLst>
        </a:prstGeom>
        <a:solidFill>
          <a:schemeClr val="accent4"/>
        </a:solidFill>
        <a:ln w="12700" cap="rnd"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lvl="0" algn="l" defTabSz="622300">
            <a:lnSpc>
              <a:spcPct val="90000"/>
            </a:lnSpc>
            <a:spcBef>
              <a:spcPct val="0"/>
            </a:spcBef>
            <a:spcAft>
              <a:spcPct val="35000"/>
            </a:spcAft>
          </a:pPr>
          <a:r>
            <a:rPr lang="de-DE" sz="1400" b="1" kern="1200" dirty="0" smtClean="0">
              <a:solidFill>
                <a:schemeClr val="bg1"/>
              </a:solidFill>
            </a:rPr>
            <a:t>SP</a:t>
          </a:r>
          <a:endParaRPr lang="de-DE" sz="1400" b="1" kern="1200" dirty="0">
            <a:solidFill>
              <a:schemeClr val="bg1"/>
            </a:solidFill>
          </a:endParaRPr>
        </a:p>
      </dsp:txBody>
      <dsp:txXfrm>
        <a:off x="6806192" y="10531"/>
        <a:ext cx="2117031" cy="345600"/>
      </dsp:txXfrm>
    </dsp:sp>
    <dsp:sp modelId="{63F43672-710B-435F-9E42-7F50EDC58325}">
      <dsp:nvSpPr>
        <dsp:cNvPr id="0" name=""/>
        <dsp:cNvSpPr/>
      </dsp:nvSpPr>
      <dsp:spPr>
        <a:xfrm>
          <a:off x="7239800" y="356131"/>
          <a:ext cx="2117031" cy="2851200"/>
        </a:xfrm>
        <a:prstGeom prst="roundRect">
          <a:avLst>
            <a:gd name="adj" fmla="val 10000"/>
          </a:avLst>
        </a:prstGeom>
        <a:solidFill>
          <a:schemeClr val="dk2">
            <a:alpha val="90000"/>
            <a:tint val="4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noProof="0" dirty="0" smtClean="0">
              <a:solidFill>
                <a:schemeClr val="tx1"/>
              </a:solidFill>
            </a:rPr>
            <a:t>Professional Project Management </a:t>
          </a:r>
          <a:r>
            <a:rPr lang="en-US" sz="1200" kern="1200" noProof="0" dirty="0" err="1" smtClean="0">
              <a:solidFill>
                <a:schemeClr val="tx1"/>
              </a:solidFill>
            </a:rPr>
            <a:t>behaviour</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Provides project plans</a:t>
          </a:r>
          <a:endParaRPr lang="en-US" sz="1200" kern="1200" noProof="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Provide a clear communication guideline</a:t>
          </a:r>
          <a:endParaRPr lang="en-US" sz="1200" kern="1200" noProof="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Fulfill requirements on time</a:t>
          </a:r>
          <a:endParaRPr lang="en-US" sz="1200" kern="1200" noProof="0">
            <a:solidFill>
              <a:schemeClr val="tx1"/>
            </a:solidFill>
          </a:endParaRPr>
        </a:p>
        <a:p>
          <a:pPr marL="114300" lvl="1" indent="-114300" algn="l" defTabSz="533400">
            <a:lnSpc>
              <a:spcPct val="90000"/>
            </a:lnSpc>
            <a:spcBef>
              <a:spcPct val="0"/>
            </a:spcBef>
            <a:spcAft>
              <a:spcPct val="15000"/>
            </a:spcAft>
            <a:buChar char="••"/>
          </a:pPr>
          <a:r>
            <a:rPr lang="en-US" sz="1200" kern="1200" noProof="0" smtClean="0">
              <a:solidFill>
                <a:schemeClr val="tx1"/>
              </a:solidFill>
            </a:rPr>
            <a:t>Pro active support by obstacles and challenages during the developing phase</a:t>
          </a:r>
          <a:endParaRPr lang="en-US" sz="1200" kern="1200" noProof="0">
            <a:solidFill>
              <a:schemeClr val="tx1"/>
            </a:solidFill>
          </a:endParaRPr>
        </a:p>
      </dsp:txBody>
      <dsp:txXfrm>
        <a:off x="7239800" y="356131"/>
        <a:ext cx="2117031" cy="28512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93E4132-E484-4200-A646-D492B5E2F234}">
      <dsp:nvSpPr>
        <dsp:cNvPr id="0" name=""/>
        <dsp:cNvSpPr/>
      </dsp:nvSpPr>
      <dsp:spPr>
        <a:xfrm>
          <a:off x="0" y="43393"/>
          <a:ext cx="7770507" cy="561600"/>
        </a:xfrm>
        <a:prstGeom prst="roundRect">
          <a:avLst>
            <a:gd name="adj" fmla="val 10000"/>
          </a:avLst>
        </a:prstGeom>
        <a:solidFill>
          <a:schemeClr val="accent6"/>
        </a:solidFill>
        <a:ln w="12700" cap="rnd"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lvl="0" algn="l" defTabSz="622300">
            <a:lnSpc>
              <a:spcPct val="90000"/>
            </a:lnSpc>
            <a:spcBef>
              <a:spcPct val="0"/>
            </a:spcBef>
            <a:spcAft>
              <a:spcPct val="35000"/>
            </a:spcAft>
          </a:pPr>
          <a:r>
            <a:rPr lang="de-DE" sz="1400" b="1" kern="1200" dirty="0" smtClean="0">
              <a:solidFill>
                <a:schemeClr val="bg1"/>
              </a:solidFill>
            </a:rPr>
            <a:t>Overall</a:t>
          </a:r>
          <a:endParaRPr lang="de-DE" sz="1400" b="1" kern="1200" dirty="0">
            <a:solidFill>
              <a:schemeClr val="bg1"/>
            </a:solidFill>
          </a:endParaRPr>
        </a:p>
      </dsp:txBody>
      <dsp:txXfrm>
        <a:off x="0" y="43393"/>
        <a:ext cx="7770507" cy="374400"/>
      </dsp:txXfrm>
    </dsp:sp>
    <dsp:sp modelId="{98D2DBCA-262B-4BA5-86D0-7BD4704ED605}">
      <dsp:nvSpPr>
        <dsp:cNvPr id="0" name=""/>
        <dsp:cNvSpPr/>
      </dsp:nvSpPr>
      <dsp:spPr>
        <a:xfrm>
          <a:off x="1591549" y="417793"/>
          <a:ext cx="7770507" cy="1216800"/>
        </a:xfrm>
        <a:prstGeom prst="roundRect">
          <a:avLst>
            <a:gd name="adj" fmla="val 10000"/>
          </a:avLst>
        </a:prstGeom>
        <a:solidFill>
          <a:schemeClr val="dk2">
            <a:alpha val="90000"/>
            <a:tint val="4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noProof="0" dirty="0" smtClean="0">
              <a:solidFill>
                <a:schemeClr val="tx1"/>
              </a:solidFill>
            </a:rPr>
            <a:t>No cross-functional meetings longer than 3 hours</a:t>
          </a:r>
          <a:endParaRPr lang="en-US" sz="1300" kern="1200" noProof="0" dirty="0">
            <a:solidFill>
              <a:schemeClr val="tx1"/>
            </a:solidFill>
          </a:endParaRPr>
        </a:p>
        <a:p>
          <a:pPr marL="114300" lvl="1" indent="-114300" algn="l" defTabSz="577850">
            <a:lnSpc>
              <a:spcPct val="90000"/>
            </a:lnSpc>
            <a:spcBef>
              <a:spcPct val="0"/>
            </a:spcBef>
            <a:spcAft>
              <a:spcPct val="15000"/>
            </a:spcAft>
            <a:buChar char="••"/>
          </a:pPr>
          <a:r>
            <a:rPr lang="en-US" sz="1300" kern="1200" noProof="0" dirty="0" smtClean="0">
              <a:solidFill>
                <a:schemeClr val="tx1"/>
              </a:solidFill>
            </a:rPr>
            <a:t>Trustful work and pro-active help and support on all sides to avoid obstacles and challenges</a:t>
          </a:r>
          <a:endParaRPr lang="en-US" sz="1300" kern="1200" noProof="0" dirty="0">
            <a:solidFill>
              <a:schemeClr val="tx1"/>
            </a:solidFill>
          </a:endParaRPr>
        </a:p>
        <a:p>
          <a:pPr marL="114300" lvl="1" indent="-114300" algn="l" defTabSz="577850">
            <a:lnSpc>
              <a:spcPct val="90000"/>
            </a:lnSpc>
            <a:spcBef>
              <a:spcPct val="0"/>
            </a:spcBef>
            <a:spcAft>
              <a:spcPct val="15000"/>
            </a:spcAft>
            <a:buChar char="••"/>
          </a:pPr>
          <a:r>
            <a:rPr lang="en-US" sz="1300" kern="1200" noProof="0" dirty="0" smtClean="0">
              <a:solidFill>
                <a:schemeClr val="tx1"/>
              </a:solidFill>
            </a:rPr>
            <a:t>All parties ensure that they attend the meetings – “second in chare” is upfront nominated </a:t>
          </a:r>
          <a:endParaRPr lang="en-US" sz="1300" kern="1200" noProof="0" dirty="0">
            <a:solidFill>
              <a:schemeClr val="tx1"/>
            </a:solidFill>
          </a:endParaRPr>
        </a:p>
        <a:p>
          <a:pPr marL="114300" lvl="1" indent="-114300" algn="l" defTabSz="577850">
            <a:lnSpc>
              <a:spcPct val="90000"/>
            </a:lnSpc>
            <a:spcBef>
              <a:spcPct val="0"/>
            </a:spcBef>
            <a:spcAft>
              <a:spcPct val="15000"/>
            </a:spcAft>
            <a:buChar char="••"/>
          </a:pPr>
          <a:r>
            <a:rPr lang="en-US" sz="1300" kern="1200" noProof="0" dirty="0" smtClean="0">
              <a:solidFill>
                <a:schemeClr val="tx1"/>
              </a:solidFill>
            </a:rPr>
            <a:t>All for one and one for all! During the projects the whole team is responsible for success and failures!!!</a:t>
          </a:r>
          <a:endParaRPr lang="en-US" sz="1300" kern="1200" noProof="0" dirty="0">
            <a:solidFill>
              <a:schemeClr val="tx1"/>
            </a:solidFill>
          </a:endParaRPr>
        </a:p>
      </dsp:txBody>
      <dsp:txXfrm>
        <a:off x="1591549" y="417793"/>
        <a:ext cx="7770507" cy="121680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83453574-C405-4ED0-AAB4-638BFA3198CB}" type="datetimeFigureOut">
              <a:rPr lang="en-US" smtClean="0"/>
              <a:pPr/>
              <a:t>8/19/201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41A64089-BAF8-4A5E-AFF6-390CFD7F2283}" type="slidenum">
              <a:rPr lang="en-US" smtClean="0"/>
              <a:pPr/>
              <a:t>‹#›</a:t>
            </a:fld>
            <a:endParaRPr lang="en-US"/>
          </a:p>
        </p:txBody>
      </p:sp>
    </p:spTree>
    <p:extLst>
      <p:ext uri="{BB962C8B-B14F-4D97-AF65-F5344CB8AC3E}">
        <p14:creationId xmlns="" xmlns:p14="http://schemas.microsoft.com/office/powerpoint/2010/main" val="3202975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1A64089-BAF8-4A5E-AFF6-390CFD7F2283}" type="slidenum">
              <a:rPr lang="en-US" smtClean="0"/>
              <a:pPr/>
              <a:t>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 xmlns:p14="http://schemas.microsoft.com/office/powerpoint/2010/main" val="161275377"/>
              </p:ext>
            </p:extLst>
          </p:nvPr>
        </p:nvGraphicFramePr>
        <p:xfrm>
          <a:off x="0" y="0"/>
          <a:ext cx="158750" cy="158750"/>
        </p:xfrm>
        <a:graphic>
          <a:graphicData uri="http://schemas.openxmlformats.org/presentationml/2006/ole">
            <p:oleObj spid="_x0000_s94249" name="think-cell Slide" r:id="rId3" imgW="360" imgH="360" progId="TCLayout.ActiveDocument.1">
              <p:embed/>
            </p:oleObj>
          </a:graphicData>
        </a:graphic>
      </p:graphicFrame>
      <p:pic>
        <p:nvPicPr>
          <p:cNvPr id="94251" name="Picture 43" descr="http://madmikesamerica.com/wp-content/uploads/2012/11/10-rules-for-safe-online-dating.jpg"/>
          <p:cNvPicPr>
            <a:picLocks noChangeAspect="1" noChangeArrowheads="1"/>
          </p:cNvPicPr>
          <p:nvPr userDrawn="1"/>
        </p:nvPicPr>
        <p:blipFill>
          <a:blip r:embed="rId4" cstate="print"/>
          <a:srcRect/>
          <a:stretch>
            <a:fillRect/>
          </a:stretch>
        </p:blipFill>
        <p:spPr bwMode="auto">
          <a:xfrm>
            <a:off x="1905000" y="1936091"/>
            <a:ext cx="8003105" cy="4921910"/>
          </a:xfrm>
          <a:prstGeom prst="rect">
            <a:avLst/>
          </a:prstGeom>
          <a:noFill/>
        </p:spPr>
      </p:pic>
      <p:pic>
        <p:nvPicPr>
          <p:cNvPr id="18" name="Picture 4" descr="C:\Users\mmierendorff\Desktop\schraege.emf"/>
          <p:cNvPicPr>
            <a:picLocks noChangeAspect="1" noChangeArrowheads="1"/>
          </p:cNvPicPr>
          <p:nvPr userDrawn="1"/>
        </p:nvPicPr>
        <p:blipFill>
          <a:blip r:embed="rId5" cstate="print"/>
          <a:srcRect/>
          <a:stretch>
            <a:fillRect/>
          </a:stretch>
        </p:blipFill>
        <p:spPr bwMode="auto">
          <a:xfrm>
            <a:off x="-18163" y="3922"/>
            <a:ext cx="9926268" cy="6862763"/>
          </a:xfrm>
          <a:prstGeom prst="rect">
            <a:avLst/>
          </a:prstGeom>
          <a:noFill/>
        </p:spPr>
      </p:pic>
      <p:pic>
        <p:nvPicPr>
          <p:cNvPr id="19" name="Picture 4" descr="V:\Verschiedenes\2012\brainnet\BrainNet_Logo2002095_ppt2.emf"/>
          <p:cNvPicPr>
            <a:picLocks noChangeAspect="1" noChangeArrowheads="1"/>
          </p:cNvPicPr>
          <p:nvPr userDrawn="1"/>
        </p:nvPicPr>
        <p:blipFill rotWithShape="1">
          <a:blip r:embed="rId6" cstate="print"/>
          <a:srcRect l="10175"/>
          <a:stretch/>
        </p:blipFill>
        <p:spPr bwMode="auto">
          <a:xfrm>
            <a:off x="7620000" y="386256"/>
            <a:ext cx="2013520" cy="756000"/>
          </a:xfrm>
          <a:prstGeom prst="rect">
            <a:avLst/>
          </a:prstGeom>
          <a:noFill/>
        </p:spPr>
      </p:pic>
      <p:sp>
        <p:nvSpPr>
          <p:cNvPr id="12" name="Freeform 9"/>
          <p:cNvSpPr>
            <a:spLocks noChangeAspect="1"/>
          </p:cNvSpPr>
          <p:nvPr userDrawn="1"/>
        </p:nvSpPr>
        <p:spPr bwMode="white">
          <a:xfrm>
            <a:off x="-19050" y="0"/>
            <a:ext cx="5218113" cy="5399088"/>
          </a:xfrm>
          <a:custGeom>
            <a:avLst/>
            <a:gdLst/>
            <a:ahLst/>
            <a:cxnLst>
              <a:cxn ang="0">
                <a:pos x="0" y="0"/>
              </a:cxn>
              <a:cxn ang="0">
                <a:pos x="0" y="5505"/>
              </a:cxn>
              <a:cxn ang="0">
                <a:pos x="3691" y="5505"/>
              </a:cxn>
              <a:cxn ang="0">
                <a:pos x="5321" y="0"/>
              </a:cxn>
              <a:cxn ang="0">
                <a:pos x="0" y="0"/>
              </a:cxn>
            </a:cxnLst>
            <a:rect l="0" t="0" r="r" b="b"/>
            <a:pathLst>
              <a:path w="5321" h="5505">
                <a:moveTo>
                  <a:pt x="0" y="0"/>
                </a:moveTo>
                <a:lnTo>
                  <a:pt x="0" y="5505"/>
                </a:lnTo>
                <a:lnTo>
                  <a:pt x="3691" y="5505"/>
                </a:lnTo>
                <a:lnTo>
                  <a:pt x="532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pic>
        <p:nvPicPr>
          <p:cNvPr id="11" name="Picture 10" descr="C:\Users\carmenkessler\Desktop\Beispiele ppt  und Grafiken\Logos\Suite of KPMG Logos and Strapline\KPMG_Plus_Strapline_NormalUse\Photoshop\Png\KPMG_Plus_Strapline_NormalUse_White.png"/>
          <p:cNvPicPr>
            <a:picLocks noChangeAspect="1" noChangeArrowheads="1"/>
          </p:cNvPicPr>
          <p:nvPr userDrawn="1"/>
        </p:nvPicPr>
        <p:blipFill>
          <a:blip r:embed="rId7" cstate="print"/>
          <a:srcRect/>
          <a:stretch>
            <a:fillRect/>
          </a:stretch>
        </p:blipFill>
        <p:spPr bwMode="auto">
          <a:xfrm>
            <a:off x="63500" y="0"/>
            <a:ext cx="2818800" cy="1528513"/>
          </a:xfrm>
          <a:prstGeom prst="rect">
            <a:avLst/>
          </a:prstGeom>
          <a:noFill/>
        </p:spPr>
      </p:pic>
      <p:sp>
        <p:nvSpPr>
          <p:cNvPr id="23" name="Title 9"/>
          <p:cNvSpPr>
            <a:spLocks noGrp="1"/>
          </p:cNvSpPr>
          <p:nvPr>
            <p:ph type="title"/>
          </p:nvPr>
        </p:nvSpPr>
        <p:spPr>
          <a:xfrm>
            <a:off x="344488" y="1412776"/>
            <a:ext cx="3816424" cy="2160240"/>
          </a:xfr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kern="1200" noProof="0" dirty="0">
                <a:solidFill>
                  <a:schemeClr val="bg1"/>
                </a:solidFill>
                <a:latin typeface="+mj-lt"/>
                <a:ea typeface="+mj-ea"/>
                <a:cs typeface="+mj-cs"/>
              </a:defRPr>
            </a:lvl2pPr>
            <a:lvl3pPr>
              <a:defRPr lang="en-GB" sz="3000" b="1" kern="1200" noProof="0" dirty="0">
                <a:solidFill>
                  <a:schemeClr val="bg1"/>
                </a:solidFill>
                <a:latin typeface="+mj-lt"/>
                <a:ea typeface="+mj-ea"/>
                <a:cs typeface="+mj-cs"/>
              </a:defRPr>
            </a:lvl3pPr>
            <a:lvl4pPr>
              <a:defRPr lang="en-GB" sz="3000" b="1" kern="1200" noProof="0" dirty="0">
                <a:solidFill>
                  <a:schemeClr val="bg1"/>
                </a:solidFill>
                <a:latin typeface="+mj-lt"/>
                <a:ea typeface="+mj-ea"/>
                <a:cs typeface="+mj-cs"/>
              </a:defRPr>
            </a:lvl4pPr>
            <a:lvl5pPr>
              <a:defRPr lang="en-GB" sz="3000" b="1" kern="1200" noProof="0" dirty="0">
                <a:solidFill>
                  <a:schemeClr val="bg1"/>
                </a:solidFill>
                <a:latin typeface="+mj-lt"/>
                <a:ea typeface="+mj-ea"/>
                <a:cs typeface="+mj-cs"/>
              </a:defRPr>
            </a:lvl5pPr>
            <a:lvl6pPr>
              <a:defRPr lang="en-GB" sz="3000" b="1" kern="1200" noProof="0" dirty="0">
                <a:solidFill>
                  <a:schemeClr val="bg1"/>
                </a:solidFill>
                <a:latin typeface="+mj-lt"/>
                <a:ea typeface="+mj-ea"/>
                <a:cs typeface="+mj-cs"/>
              </a:defRPr>
            </a:lvl6pPr>
            <a:lvl7pPr>
              <a:defRPr lang="en-GB" sz="3000" b="1" kern="1200" noProof="0" dirty="0">
                <a:solidFill>
                  <a:schemeClr val="bg1"/>
                </a:solidFill>
                <a:latin typeface="+mj-lt"/>
                <a:ea typeface="+mj-ea"/>
                <a:cs typeface="+mj-cs"/>
              </a:defRPr>
            </a:lvl7pPr>
            <a:lvl8pPr>
              <a:defRPr lang="en-GB" sz="3000" b="1" kern="1200" noProof="0" dirty="0">
                <a:solidFill>
                  <a:schemeClr val="bg1"/>
                </a:solidFill>
                <a:latin typeface="+mj-lt"/>
                <a:ea typeface="+mj-ea"/>
                <a:cs typeface="+mj-cs"/>
              </a:defRPr>
            </a:lvl8pPr>
            <a:lvl9pPr>
              <a:defRPr lang="en-GB" sz="3000" b="1" kern="1200" noProof="0" dirty="0">
                <a:solidFill>
                  <a:schemeClr val="bg1"/>
                </a:solidFill>
                <a:latin typeface="+mj-lt"/>
                <a:ea typeface="+mj-ea"/>
                <a:cs typeface="+mj-cs"/>
              </a:defRPr>
            </a:lvl9pPr>
          </a:lstStyle>
          <a:p>
            <a:pPr lvl="0"/>
            <a:r>
              <a:rPr lang="en-US" noProof="0" smtClean="0"/>
              <a:t>Click to edit Master title style</a:t>
            </a:r>
            <a:endParaRPr lang="en-US" noProof="0"/>
          </a:p>
        </p:txBody>
      </p:sp>
      <p:sp>
        <p:nvSpPr>
          <p:cNvPr id="24" name="Text Placeholder 16"/>
          <p:cNvSpPr>
            <a:spLocks noGrp="1"/>
          </p:cNvSpPr>
          <p:nvPr>
            <p:ph type="body" sz="quarter" idx="10"/>
          </p:nvPr>
        </p:nvSpPr>
        <p:spPr>
          <a:xfrm>
            <a:off x="344488" y="3789363"/>
            <a:ext cx="3384550" cy="10795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ts val="600"/>
              </a:spcBef>
              <a:spcAft>
                <a:spcPct val="0"/>
              </a:spcAft>
              <a:buFontTx/>
              <a:buNone/>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noProof="0" smtClean="0"/>
              <a:t>Click to edit Master text styles</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wo Tables One Text">
    <p:spTree>
      <p:nvGrpSpPr>
        <p:cNvPr id="1" name=""/>
        <p:cNvGrpSpPr/>
        <p:nvPr/>
      </p:nvGrpSpPr>
      <p:grpSpPr>
        <a:xfrm>
          <a:off x="0" y="0"/>
          <a:ext cx="0" cy="0"/>
          <a:chOff x="0" y="0"/>
          <a:chExt cx="0" cy="0"/>
        </a:xfrm>
      </p:grpSpPr>
      <p:sp>
        <p:nvSpPr>
          <p:cNvPr id="11" name="Table Placeholder 10"/>
          <p:cNvSpPr>
            <a:spLocks noGrp="1"/>
          </p:cNvSpPr>
          <p:nvPr>
            <p:ph type="tbl" sz="quarter" idx="12"/>
          </p:nvPr>
        </p:nvSpPr>
        <p:spPr bwMode="gray">
          <a:xfrm>
            <a:off x="273050" y="1268413"/>
            <a:ext cx="4608513" cy="2376487"/>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Clr>
                <a:srgbClr val="00338D"/>
              </a:buClr>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table</a:t>
            </a:r>
            <a:endParaRPr lang="de-DE" dirty="0"/>
          </a:p>
        </p:txBody>
      </p:sp>
      <p:sp>
        <p:nvSpPr>
          <p:cNvPr id="12" name="Table Placeholder 10"/>
          <p:cNvSpPr>
            <a:spLocks noGrp="1"/>
          </p:cNvSpPr>
          <p:nvPr>
            <p:ph type="tbl" sz="quarter" idx="13"/>
          </p:nvPr>
        </p:nvSpPr>
        <p:spPr bwMode="gray">
          <a:xfrm>
            <a:off x="273050" y="3789363"/>
            <a:ext cx="4608513" cy="2376487"/>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Clr>
                <a:srgbClr val="00338D"/>
              </a:buClr>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table</a:t>
            </a:r>
            <a:endParaRPr lang="de-DE" dirty="0"/>
          </a:p>
        </p:txBody>
      </p:sp>
      <p:sp>
        <p:nvSpPr>
          <p:cNvPr id="10"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8" name="Text Placeholder 9"/>
          <p:cNvSpPr>
            <a:spLocks noGrp="1"/>
          </p:cNvSpPr>
          <p:nvPr>
            <p:ph type="body" sz="quarter" idx="14"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14" name="Text Placeholder 9"/>
          <p:cNvSpPr>
            <a:spLocks noGrp="1"/>
          </p:cNvSpPr>
          <p:nvPr>
            <p:ph type="body" sz="quarter" idx="15"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
        <p:nvSpPr>
          <p:cNvPr id="15" name="Text Placeholder 6"/>
          <p:cNvSpPr>
            <a:spLocks noGrp="1"/>
          </p:cNvSpPr>
          <p:nvPr>
            <p:ph type="body" sz="quarter" idx="11"/>
          </p:nvPr>
        </p:nvSpPr>
        <p:spPr bwMode="gray">
          <a:xfrm>
            <a:off x="5023867" y="1268760"/>
            <a:ext cx="4609083" cy="4896544"/>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5" name="Text Placeholder 6"/>
          <p:cNvSpPr>
            <a:spLocks noGrp="1"/>
          </p:cNvSpPr>
          <p:nvPr>
            <p:ph type="body" sz="quarter" idx="10"/>
          </p:nvPr>
        </p:nvSpPr>
        <p:spPr bwMode="gray">
          <a:xfrm>
            <a:off x="272480" y="1268760"/>
            <a:ext cx="9361040" cy="2376140"/>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buNone/>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6" name="Text Placeholder 6"/>
          <p:cNvSpPr>
            <a:spLocks noGrp="1"/>
          </p:cNvSpPr>
          <p:nvPr>
            <p:ph type="body" sz="quarter" idx="11"/>
          </p:nvPr>
        </p:nvSpPr>
        <p:spPr bwMode="gray">
          <a:xfrm>
            <a:off x="272480" y="3789710"/>
            <a:ext cx="9361040" cy="2376140"/>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8"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7" name="Text Placeholder 9"/>
          <p:cNvSpPr>
            <a:spLocks noGrp="1"/>
          </p:cNvSpPr>
          <p:nvPr>
            <p:ph type="body" sz="quarter" idx="12"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9" name="Text Placeholder 9"/>
          <p:cNvSpPr>
            <a:spLocks noGrp="1"/>
          </p:cNvSpPr>
          <p:nvPr>
            <p:ph type="body" sz="quarter" idx="13"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p:spTree>
      <p:nvGrpSpPr>
        <p:cNvPr id="1" name=""/>
        <p:cNvGrpSpPr/>
        <p:nvPr/>
      </p:nvGrpSpPr>
      <p:grpSpPr>
        <a:xfrm>
          <a:off x="0" y="0"/>
          <a:ext cx="0" cy="0"/>
          <a:chOff x="0" y="0"/>
          <a:chExt cx="0" cy="0"/>
        </a:xfrm>
      </p:grpSpPr>
      <p:sp>
        <p:nvSpPr>
          <p:cNvPr id="6" name="Text Placeholder 6"/>
          <p:cNvSpPr>
            <a:spLocks noGrp="1"/>
          </p:cNvSpPr>
          <p:nvPr>
            <p:ph type="body" sz="quarter" idx="11"/>
          </p:nvPr>
        </p:nvSpPr>
        <p:spPr bwMode="gray">
          <a:xfrm>
            <a:off x="272480" y="3789710"/>
            <a:ext cx="9361040" cy="2376140"/>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8" name="Chart Placeholder 7"/>
          <p:cNvSpPr>
            <a:spLocks noGrp="1"/>
          </p:cNvSpPr>
          <p:nvPr>
            <p:ph type="chart" sz="quarter" idx="12"/>
          </p:nvPr>
        </p:nvSpPr>
        <p:spPr bwMode="gray">
          <a:xfrm>
            <a:off x="272480" y="1268413"/>
            <a:ext cx="9359900" cy="2376487"/>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Clr>
                <a:srgbClr val="00338D"/>
              </a:buClr>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chart</a:t>
            </a:r>
            <a:endParaRPr lang="de-DE" dirty="0"/>
          </a:p>
        </p:txBody>
      </p:sp>
      <p:sp>
        <p:nvSpPr>
          <p:cNvPr id="9"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7" name="Text Placeholder 9"/>
          <p:cNvSpPr>
            <a:spLocks noGrp="1"/>
          </p:cNvSpPr>
          <p:nvPr>
            <p:ph type="body" sz="quarter" idx="13"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10" name="Text Placeholder 9"/>
          <p:cNvSpPr>
            <a:spLocks noGrp="1"/>
          </p:cNvSpPr>
          <p:nvPr>
            <p:ph type="body" sz="quarter" idx="14"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33" name="Chart Placeholder 31"/>
          <p:cNvSpPr>
            <a:spLocks noGrp="1"/>
          </p:cNvSpPr>
          <p:nvPr>
            <p:ph type="chart" sz="quarter" idx="22"/>
          </p:nvPr>
        </p:nvSpPr>
        <p:spPr bwMode="gray">
          <a:xfrm>
            <a:off x="3476311" y="1270000"/>
            <a:ext cx="2951758" cy="2376488"/>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chart</a:t>
            </a:r>
            <a:endParaRPr lang="de-DE" dirty="0"/>
          </a:p>
        </p:txBody>
      </p:sp>
      <p:sp>
        <p:nvSpPr>
          <p:cNvPr id="28" name="Text Placeholder 17"/>
          <p:cNvSpPr>
            <a:spLocks noGrp="1"/>
          </p:cNvSpPr>
          <p:nvPr>
            <p:ph type="body" sz="quarter" idx="20"/>
          </p:nvPr>
        </p:nvSpPr>
        <p:spPr bwMode="gray">
          <a:xfrm>
            <a:off x="6682813" y="3789363"/>
            <a:ext cx="2950138" cy="2376487"/>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32" name="Chart Placeholder 31"/>
          <p:cNvSpPr>
            <a:spLocks noGrp="1"/>
          </p:cNvSpPr>
          <p:nvPr>
            <p:ph type="chart" sz="quarter" idx="21"/>
          </p:nvPr>
        </p:nvSpPr>
        <p:spPr bwMode="gray">
          <a:xfrm>
            <a:off x="6681192" y="1270000"/>
            <a:ext cx="2951758" cy="2376488"/>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chart</a:t>
            </a:r>
            <a:endParaRPr lang="de-DE" dirty="0"/>
          </a:p>
        </p:txBody>
      </p:sp>
      <p:sp>
        <p:nvSpPr>
          <p:cNvPr id="13" name="Table Placeholder 12"/>
          <p:cNvSpPr>
            <a:spLocks noGrp="1"/>
          </p:cNvSpPr>
          <p:nvPr>
            <p:ph type="tbl" sz="quarter" idx="14"/>
          </p:nvPr>
        </p:nvSpPr>
        <p:spPr bwMode="gray">
          <a:xfrm>
            <a:off x="273050" y="1270000"/>
            <a:ext cx="2950138" cy="2376488"/>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table</a:t>
            </a:r>
            <a:endParaRPr lang="de-DE" dirty="0"/>
          </a:p>
        </p:txBody>
      </p:sp>
      <p:sp>
        <p:nvSpPr>
          <p:cNvPr id="18" name="Text Placeholder 17"/>
          <p:cNvSpPr>
            <a:spLocks noGrp="1"/>
          </p:cNvSpPr>
          <p:nvPr>
            <p:ph type="body" sz="quarter" idx="16"/>
          </p:nvPr>
        </p:nvSpPr>
        <p:spPr bwMode="gray">
          <a:xfrm>
            <a:off x="273050" y="3789363"/>
            <a:ext cx="2950138" cy="2376487"/>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26" name="Text Placeholder 17"/>
          <p:cNvSpPr>
            <a:spLocks noGrp="1"/>
          </p:cNvSpPr>
          <p:nvPr>
            <p:ph type="body" sz="quarter" idx="18"/>
          </p:nvPr>
        </p:nvSpPr>
        <p:spPr bwMode="gray">
          <a:xfrm>
            <a:off x="3477931" y="3789363"/>
            <a:ext cx="2950138" cy="2376487"/>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16"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11" name="Text Placeholder 9"/>
          <p:cNvSpPr>
            <a:spLocks noGrp="1"/>
          </p:cNvSpPr>
          <p:nvPr>
            <p:ph type="body" sz="quarter" idx="12"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12" name="Text Placeholder 9"/>
          <p:cNvSpPr>
            <a:spLocks noGrp="1"/>
          </p:cNvSpPr>
          <p:nvPr>
            <p:ph type="body" sz="quarter" idx="13"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noProof="0" smtClean="0"/>
              <a:t>Click to edit Master title style</a:t>
            </a:r>
            <a:endParaRPr lang="de-DE" noProof="0"/>
          </a:p>
        </p:txBody>
      </p:sp>
      <p:sp>
        <p:nvSpPr>
          <p:cNvPr id="7" name="Text Placeholder 9"/>
          <p:cNvSpPr>
            <a:spLocks noGrp="1"/>
          </p:cNvSpPr>
          <p:nvPr>
            <p:ph type="body" sz="quarter" idx="12"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9" name="Text Placeholder 9"/>
          <p:cNvSpPr>
            <a:spLocks noGrp="1"/>
          </p:cNvSpPr>
          <p:nvPr>
            <p:ph type="body" sz="quarter" idx="13"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noProof="0" smtClean="0"/>
              <a:t>Click to edit Master title style</a:t>
            </a:r>
            <a:endParaRPr lang="de-DE" noProof="0"/>
          </a:p>
        </p:txBody>
      </p:sp>
    </p:spTree>
    <p:extLst>
      <p:ext uri="{BB962C8B-B14F-4D97-AF65-F5344CB8AC3E}">
        <p14:creationId xmlns="" xmlns:p14="http://schemas.microsoft.com/office/powerpoint/2010/main" val="206971816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Kontakt Foto x 2">
    <p:spTree>
      <p:nvGrpSpPr>
        <p:cNvPr id="1" name=""/>
        <p:cNvGrpSpPr/>
        <p:nvPr/>
      </p:nvGrpSpPr>
      <p:grpSpPr>
        <a:xfrm>
          <a:off x="0" y="0"/>
          <a:ext cx="0" cy="0"/>
          <a:chOff x="0" y="0"/>
          <a:chExt cx="0" cy="0"/>
        </a:xfrm>
      </p:grpSpPr>
      <p:sp>
        <p:nvSpPr>
          <p:cNvPr id="16" name="Freeform 9"/>
          <p:cNvSpPr>
            <a:spLocks noChangeAspect="1"/>
          </p:cNvSpPr>
          <p:nvPr userDrawn="1"/>
        </p:nvSpPr>
        <p:spPr bwMode="gray">
          <a:xfrm>
            <a:off x="0" y="0"/>
            <a:ext cx="5218113" cy="5399088"/>
          </a:xfrm>
          <a:custGeom>
            <a:avLst/>
            <a:gdLst/>
            <a:ahLst/>
            <a:cxnLst>
              <a:cxn ang="0">
                <a:pos x="0" y="0"/>
              </a:cxn>
              <a:cxn ang="0">
                <a:pos x="0" y="5505"/>
              </a:cxn>
              <a:cxn ang="0">
                <a:pos x="3691" y="5505"/>
              </a:cxn>
              <a:cxn ang="0">
                <a:pos x="5321" y="0"/>
              </a:cxn>
              <a:cxn ang="0">
                <a:pos x="0" y="0"/>
              </a:cxn>
            </a:cxnLst>
            <a:rect l="0" t="0" r="r" b="b"/>
            <a:pathLst>
              <a:path w="5321" h="5505">
                <a:moveTo>
                  <a:pt x="0" y="0"/>
                </a:moveTo>
                <a:lnTo>
                  <a:pt x="0" y="5505"/>
                </a:lnTo>
                <a:lnTo>
                  <a:pt x="3691" y="5505"/>
                </a:lnTo>
                <a:lnTo>
                  <a:pt x="532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sp>
        <p:nvSpPr>
          <p:cNvPr id="17" name="Title 9"/>
          <p:cNvSpPr>
            <a:spLocks noGrp="1"/>
          </p:cNvSpPr>
          <p:nvPr>
            <p:ph type="title"/>
          </p:nvPr>
        </p:nvSpPr>
        <p:spPr bwMode="gray">
          <a:xfrm>
            <a:off x="344488" y="2017893"/>
            <a:ext cx="3816424" cy="792542"/>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40000"/>
              </a:spcBef>
              <a:spcAft>
                <a:spcPct val="0"/>
              </a:spcAft>
              <a:defRPr lang="en-GB" sz="18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noProof="0" smtClean="0"/>
              <a:t>Click to edit Master title style</a:t>
            </a:r>
            <a:endParaRPr lang="de-DE" noProof="0"/>
          </a:p>
        </p:txBody>
      </p:sp>
      <p:pic>
        <p:nvPicPr>
          <p:cNvPr id="19" name="Picture 18" descr="C:\Users\carmenkessler\Desktop\Beispiele ppt  und Grafiken\Logos\Suite of KPMG Logos and Strapline\KPMG_Plus_Strapline_NormalUse\Photoshop\Png\KPMG_Plus_Strapline_NormalUse_White.png"/>
          <p:cNvPicPr>
            <a:picLocks noChangeAspect="1" noChangeArrowheads="1"/>
          </p:cNvPicPr>
          <p:nvPr userDrawn="1"/>
        </p:nvPicPr>
        <p:blipFill>
          <a:blip r:embed="rId2" cstate="print"/>
          <a:srcRect/>
          <a:stretch>
            <a:fillRect/>
          </a:stretch>
        </p:blipFill>
        <p:spPr bwMode="auto">
          <a:xfrm>
            <a:off x="63500" y="0"/>
            <a:ext cx="2818800" cy="1528513"/>
          </a:xfrm>
          <a:prstGeom prst="rect">
            <a:avLst/>
          </a:prstGeom>
          <a:noFill/>
        </p:spPr>
      </p:pic>
      <p:sp>
        <p:nvSpPr>
          <p:cNvPr id="21" name="Picture Placeholder 2"/>
          <p:cNvSpPr>
            <a:spLocks noGrp="1"/>
          </p:cNvSpPr>
          <p:nvPr>
            <p:ph type="pic" sz="quarter" idx="17"/>
          </p:nvPr>
        </p:nvSpPr>
        <p:spPr>
          <a:xfrm>
            <a:off x="5012017" y="2513948"/>
            <a:ext cx="1143000" cy="1398587"/>
          </a:xfrm>
          <a:prstGeom prst="rect">
            <a:avLst/>
          </a:prstGeom>
          <a:solidFill>
            <a:schemeClr val="bg1"/>
          </a:solidFill>
        </p:spPr>
        <p:txBody>
          <a:bodyPr vert="horz" lIns="0" tIns="0" rIns="0" bIns="0" rtlCol="0">
            <a:noAutofit/>
          </a:bodyPr>
          <a:lstStyle>
            <a:lvl1pPr marL="0" indent="0" algn="l" defTabSz="914400" rtl="0" eaLnBrk="1" latinLnBrk="0" hangingPunct="1">
              <a:lnSpc>
                <a:spcPct val="100000"/>
              </a:lnSpc>
              <a:spcBef>
                <a:spcPts val="600"/>
              </a:spcBef>
              <a:buClr>
                <a:srgbClr val="00338D"/>
              </a:buClr>
              <a:buFont typeface="Arial" pitchFamily="34" charset="0"/>
              <a:buNone/>
              <a:defRPr lang="de-DE" sz="1200" b="1" kern="1200" noProof="0">
                <a:solidFill>
                  <a:srgbClr val="00338D"/>
                </a:solidFill>
                <a:latin typeface="Arial"/>
                <a:ea typeface="+mn-ea"/>
                <a:cs typeface="Arial" pitchFamily="34" charset="0"/>
              </a:defRPr>
            </a:lvl1pPr>
          </a:lstStyle>
          <a:p>
            <a:r>
              <a:rPr lang="en-US" noProof="0" smtClean="0"/>
              <a:t>Click icon to add picture</a:t>
            </a:r>
            <a:endParaRPr lang="de-DE" noProof="0"/>
          </a:p>
        </p:txBody>
      </p:sp>
      <p:sp>
        <p:nvSpPr>
          <p:cNvPr id="22" name="Picture Placeholder 2"/>
          <p:cNvSpPr>
            <a:spLocks noGrp="1"/>
          </p:cNvSpPr>
          <p:nvPr>
            <p:ph type="pic" sz="quarter" idx="18"/>
          </p:nvPr>
        </p:nvSpPr>
        <p:spPr>
          <a:xfrm>
            <a:off x="7758841" y="2513948"/>
            <a:ext cx="1143000" cy="1398587"/>
          </a:xfrm>
          <a:prstGeom prst="rect">
            <a:avLst/>
          </a:prstGeom>
          <a:solidFill>
            <a:schemeClr val="bg1"/>
          </a:solidFill>
        </p:spPr>
        <p:txBody>
          <a:bodyPr vert="horz" lIns="0" tIns="0" rIns="0" bIns="0" rtlCol="0">
            <a:noAutofit/>
          </a:bodyPr>
          <a:lstStyle>
            <a:lvl1pPr marL="0" indent="0" algn="l" defTabSz="914400" rtl="0" eaLnBrk="1" latinLnBrk="0" hangingPunct="1">
              <a:lnSpc>
                <a:spcPct val="100000"/>
              </a:lnSpc>
              <a:spcBef>
                <a:spcPts val="600"/>
              </a:spcBef>
              <a:buClr>
                <a:srgbClr val="00338D"/>
              </a:buClr>
              <a:buFont typeface="Arial" pitchFamily="34" charset="0"/>
              <a:buNone/>
              <a:defRPr lang="de-DE" sz="1200" b="1" kern="1200" noProof="0">
                <a:solidFill>
                  <a:srgbClr val="00338D"/>
                </a:solidFill>
                <a:latin typeface="Arial"/>
                <a:ea typeface="+mn-ea"/>
                <a:cs typeface="Arial" pitchFamily="34" charset="0"/>
              </a:defRPr>
            </a:lvl1pPr>
          </a:lstStyle>
          <a:p>
            <a:r>
              <a:rPr lang="en-US" noProof="0" smtClean="0"/>
              <a:t>Click icon to add picture</a:t>
            </a:r>
            <a:endParaRPr lang="de-DE" noProof="0"/>
          </a:p>
        </p:txBody>
      </p:sp>
      <p:pic>
        <p:nvPicPr>
          <p:cNvPr id="37" name="Picture 4" descr="V:\Verschiedenes\2012\brainnet\BrainNet_Logo2002095_ppt2.emf"/>
          <p:cNvPicPr>
            <a:picLocks noChangeAspect="1" noChangeArrowheads="1"/>
          </p:cNvPicPr>
          <p:nvPr userDrawn="1"/>
        </p:nvPicPr>
        <p:blipFill rotWithShape="1">
          <a:blip r:embed="rId3" cstate="print"/>
          <a:srcRect l="10175"/>
          <a:stretch/>
        </p:blipFill>
        <p:spPr bwMode="auto">
          <a:xfrm>
            <a:off x="7620000" y="386256"/>
            <a:ext cx="2013520" cy="756000"/>
          </a:xfrm>
          <a:prstGeom prst="rect">
            <a:avLst/>
          </a:prstGeom>
          <a:noFill/>
        </p:spPr>
      </p:pic>
      <p:sp>
        <p:nvSpPr>
          <p:cNvPr id="32" name="Text Placeholder 21"/>
          <p:cNvSpPr>
            <a:spLocks noGrp="1"/>
          </p:cNvSpPr>
          <p:nvPr>
            <p:ph type="body" sz="quarter" idx="10" hasCustomPrompt="1"/>
          </p:nvPr>
        </p:nvSpPr>
        <p:spPr>
          <a:xfrm>
            <a:off x="4626351" y="4172562"/>
            <a:ext cx="1964310" cy="180045"/>
          </a:xfrm>
          <a:prstGeom prst="rect">
            <a:avLst/>
          </a:prstGeom>
        </p:spPr>
        <p:txBody>
          <a:bodyPr/>
          <a:lstStyle>
            <a:lvl1pPr>
              <a:spcBef>
                <a:spcPts val="0"/>
              </a:spcBef>
              <a:buNone/>
              <a:defRPr sz="1000" b="1" baseline="0">
                <a:solidFill>
                  <a:schemeClr val="tx1"/>
                </a:solidFill>
              </a:defRPr>
            </a:lvl1pPr>
          </a:lstStyle>
          <a:p>
            <a:pPr lvl="0"/>
            <a:r>
              <a:rPr lang="de-DE" noProof="0" dirty="0" smtClean="0"/>
              <a:t>Name Family Name</a:t>
            </a:r>
          </a:p>
        </p:txBody>
      </p:sp>
      <p:sp>
        <p:nvSpPr>
          <p:cNvPr id="34" name="Text Placeholder 21"/>
          <p:cNvSpPr>
            <a:spLocks noGrp="1"/>
          </p:cNvSpPr>
          <p:nvPr>
            <p:ph type="body" sz="quarter" idx="11" hasCustomPrompt="1"/>
          </p:nvPr>
        </p:nvSpPr>
        <p:spPr>
          <a:xfrm>
            <a:off x="4625805" y="4352607"/>
            <a:ext cx="1964310" cy="378293"/>
          </a:xfrm>
          <a:prstGeom prst="rect">
            <a:avLst/>
          </a:prstGeom>
        </p:spPr>
        <p:txBody>
          <a:bodyPr/>
          <a:lstStyle>
            <a:lvl1pPr>
              <a:spcBef>
                <a:spcPts val="0"/>
              </a:spcBef>
              <a:buNone/>
              <a:defRPr sz="1000" b="0" baseline="0">
                <a:solidFill>
                  <a:schemeClr val="tx1"/>
                </a:solidFill>
              </a:defRPr>
            </a:lvl1pPr>
          </a:lstStyle>
          <a:p>
            <a:pPr lvl="0"/>
            <a:r>
              <a:rPr lang="de-DE" noProof="0" dirty="0" smtClean="0"/>
              <a:t>Department</a:t>
            </a:r>
          </a:p>
          <a:p>
            <a:pPr lvl="0"/>
            <a:r>
              <a:rPr lang="de-DE" noProof="0" dirty="0" smtClean="0"/>
              <a:t>Job Title</a:t>
            </a:r>
            <a:endParaRPr lang="de-DE" noProof="0" dirty="0"/>
          </a:p>
        </p:txBody>
      </p:sp>
      <p:sp>
        <p:nvSpPr>
          <p:cNvPr id="35" name="Rectangle 24"/>
          <p:cNvSpPr/>
          <p:nvPr userDrawn="1"/>
        </p:nvSpPr>
        <p:spPr>
          <a:xfrm>
            <a:off x="4527037" y="4748626"/>
            <a:ext cx="232787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smtClean="0">
                <a:solidFill>
                  <a:srgbClr val="000000"/>
                </a:solidFill>
              </a:rPr>
              <a:t>T:</a:t>
            </a:r>
          </a:p>
          <a:p>
            <a:r>
              <a:rPr lang="de-DE" sz="1000" smtClean="0">
                <a:solidFill>
                  <a:srgbClr val="000000"/>
                </a:solidFill>
              </a:rPr>
              <a:t>M:</a:t>
            </a:r>
          </a:p>
          <a:p>
            <a:r>
              <a:rPr lang="de-DE" sz="1000" smtClean="0">
                <a:solidFill>
                  <a:srgbClr val="000000"/>
                </a:solidFill>
              </a:rPr>
              <a:t>F:</a:t>
            </a:r>
            <a:endParaRPr lang="de-DE" sz="1000">
              <a:solidFill>
                <a:srgbClr val="000000"/>
              </a:solidFill>
            </a:endParaRPr>
          </a:p>
        </p:txBody>
      </p:sp>
      <p:sp>
        <p:nvSpPr>
          <p:cNvPr id="36" name="Text Placeholder 21"/>
          <p:cNvSpPr>
            <a:spLocks noGrp="1"/>
          </p:cNvSpPr>
          <p:nvPr>
            <p:ph type="body" sz="quarter" idx="13" hasCustomPrompt="1"/>
          </p:nvPr>
        </p:nvSpPr>
        <p:spPr>
          <a:xfrm>
            <a:off x="4625805" y="5252682"/>
            <a:ext cx="1964310" cy="189147"/>
          </a:xfrm>
          <a:prstGeom prst="rect">
            <a:avLst/>
          </a:prstGeom>
        </p:spPr>
        <p:txBody>
          <a:bodyPr/>
          <a:lstStyle>
            <a:lvl1pPr>
              <a:spcBef>
                <a:spcPts val="0"/>
              </a:spcBef>
              <a:buNone/>
              <a:defRPr sz="1000" b="0" baseline="0">
                <a:solidFill>
                  <a:schemeClr val="tx1"/>
                </a:solidFill>
              </a:defRPr>
            </a:lvl1pPr>
          </a:lstStyle>
          <a:p>
            <a:pPr lvl="0"/>
            <a:r>
              <a:rPr lang="de-DE" noProof="0" dirty="0" smtClean="0"/>
              <a:t>maxmustermann@kpmg.com</a:t>
            </a:r>
          </a:p>
        </p:txBody>
      </p:sp>
      <p:sp>
        <p:nvSpPr>
          <p:cNvPr id="42" name="Text Placeholder 6"/>
          <p:cNvSpPr>
            <a:spLocks noGrp="1"/>
          </p:cNvSpPr>
          <p:nvPr>
            <p:ph type="body" sz="quarter" idx="19" hasCustomPrompt="1"/>
          </p:nvPr>
        </p:nvSpPr>
        <p:spPr>
          <a:xfrm>
            <a:off x="4964113" y="4793131"/>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
        <p:nvSpPr>
          <p:cNvPr id="43" name="Text Placeholder 6"/>
          <p:cNvSpPr>
            <a:spLocks noGrp="1"/>
          </p:cNvSpPr>
          <p:nvPr>
            <p:ph type="body" sz="quarter" idx="20" hasCustomPrompt="1"/>
          </p:nvPr>
        </p:nvSpPr>
        <p:spPr>
          <a:xfrm>
            <a:off x="4964113" y="4930804"/>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
        <p:nvSpPr>
          <p:cNvPr id="44" name="Text Placeholder 6"/>
          <p:cNvSpPr>
            <a:spLocks noGrp="1"/>
          </p:cNvSpPr>
          <p:nvPr>
            <p:ph type="body" sz="quarter" idx="21" hasCustomPrompt="1"/>
          </p:nvPr>
        </p:nvSpPr>
        <p:spPr>
          <a:xfrm>
            <a:off x="4964113" y="5064154"/>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
        <p:nvSpPr>
          <p:cNvPr id="45" name="Text Placeholder 21"/>
          <p:cNvSpPr>
            <a:spLocks noGrp="1"/>
          </p:cNvSpPr>
          <p:nvPr>
            <p:ph type="body" sz="quarter" idx="22" hasCustomPrompt="1"/>
          </p:nvPr>
        </p:nvSpPr>
        <p:spPr>
          <a:xfrm>
            <a:off x="7382251" y="4172562"/>
            <a:ext cx="1964310" cy="180045"/>
          </a:xfrm>
          <a:prstGeom prst="rect">
            <a:avLst/>
          </a:prstGeom>
        </p:spPr>
        <p:txBody>
          <a:bodyPr/>
          <a:lstStyle>
            <a:lvl1pPr>
              <a:spcBef>
                <a:spcPts val="0"/>
              </a:spcBef>
              <a:buNone/>
              <a:defRPr sz="1000" b="1" baseline="0">
                <a:solidFill>
                  <a:schemeClr val="tx1"/>
                </a:solidFill>
              </a:defRPr>
            </a:lvl1pPr>
          </a:lstStyle>
          <a:p>
            <a:pPr lvl="0"/>
            <a:r>
              <a:rPr lang="de-DE" noProof="0" dirty="0" smtClean="0"/>
              <a:t>Name Family Name</a:t>
            </a:r>
          </a:p>
        </p:txBody>
      </p:sp>
      <p:sp>
        <p:nvSpPr>
          <p:cNvPr id="46" name="Text Placeholder 21"/>
          <p:cNvSpPr>
            <a:spLocks noGrp="1"/>
          </p:cNvSpPr>
          <p:nvPr>
            <p:ph type="body" sz="quarter" idx="23" hasCustomPrompt="1"/>
          </p:nvPr>
        </p:nvSpPr>
        <p:spPr>
          <a:xfrm>
            <a:off x="7381705" y="4352607"/>
            <a:ext cx="1964310" cy="378293"/>
          </a:xfrm>
          <a:prstGeom prst="rect">
            <a:avLst/>
          </a:prstGeom>
        </p:spPr>
        <p:txBody>
          <a:bodyPr/>
          <a:lstStyle>
            <a:lvl1pPr>
              <a:spcBef>
                <a:spcPts val="0"/>
              </a:spcBef>
              <a:buNone/>
              <a:defRPr sz="1000" b="0" baseline="0">
                <a:solidFill>
                  <a:schemeClr val="tx1"/>
                </a:solidFill>
              </a:defRPr>
            </a:lvl1pPr>
          </a:lstStyle>
          <a:p>
            <a:pPr lvl="0"/>
            <a:r>
              <a:rPr lang="de-DE" noProof="0" dirty="0" smtClean="0"/>
              <a:t>Department</a:t>
            </a:r>
          </a:p>
          <a:p>
            <a:pPr lvl="0"/>
            <a:r>
              <a:rPr lang="de-DE" noProof="0" dirty="0" smtClean="0"/>
              <a:t>Job Title</a:t>
            </a:r>
            <a:endParaRPr lang="de-DE" noProof="0" dirty="0"/>
          </a:p>
        </p:txBody>
      </p:sp>
      <p:sp>
        <p:nvSpPr>
          <p:cNvPr id="47" name="Text Placeholder 21"/>
          <p:cNvSpPr>
            <a:spLocks noGrp="1"/>
          </p:cNvSpPr>
          <p:nvPr>
            <p:ph type="body" sz="quarter" idx="24" hasCustomPrompt="1"/>
          </p:nvPr>
        </p:nvSpPr>
        <p:spPr>
          <a:xfrm>
            <a:off x="7381705" y="5252682"/>
            <a:ext cx="1964310" cy="189147"/>
          </a:xfrm>
          <a:prstGeom prst="rect">
            <a:avLst/>
          </a:prstGeom>
        </p:spPr>
        <p:txBody>
          <a:bodyPr/>
          <a:lstStyle>
            <a:lvl1pPr>
              <a:spcBef>
                <a:spcPts val="0"/>
              </a:spcBef>
              <a:buNone/>
              <a:defRPr sz="1000" b="0" baseline="0">
                <a:solidFill>
                  <a:schemeClr val="tx1"/>
                </a:solidFill>
              </a:defRPr>
            </a:lvl1pPr>
          </a:lstStyle>
          <a:p>
            <a:pPr lvl="0"/>
            <a:r>
              <a:rPr lang="de-DE" noProof="0" dirty="0" smtClean="0"/>
              <a:t>maxmustermann@kpmg.com</a:t>
            </a:r>
          </a:p>
        </p:txBody>
      </p:sp>
      <p:sp>
        <p:nvSpPr>
          <p:cNvPr id="48" name="Rectangle 37"/>
          <p:cNvSpPr/>
          <p:nvPr userDrawn="1"/>
        </p:nvSpPr>
        <p:spPr>
          <a:xfrm>
            <a:off x="7287783" y="4748626"/>
            <a:ext cx="232787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smtClean="0">
                <a:solidFill>
                  <a:srgbClr val="000000"/>
                </a:solidFill>
              </a:rPr>
              <a:t>T:</a:t>
            </a:r>
          </a:p>
          <a:p>
            <a:r>
              <a:rPr lang="de-DE" sz="1000" smtClean="0">
                <a:solidFill>
                  <a:srgbClr val="000000"/>
                </a:solidFill>
              </a:rPr>
              <a:t>M:</a:t>
            </a:r>
          </a:p>
          <a:p>
            <a:r>
              <a:rPr lang="de-DE" sz="1000" smtClean="0">
                <a:solidFill>
                  <a:srgbClr val="000000"/>
                </a:solidFill>
              </a:rPr>
              <a:t>F:</a:t>
            </a:r>
            <a:endParaRPr lang="de-DE" sz="1000">
              <a:solidFill>
                <a:srgbClr val="000000"/>
              </a:solidFill>
            </a:endParaRPr>
          </a:p>
        </p:txBody>
      </p:sp>
      <p:sp>
        <p:nvSpPr>
          <p:cNvPr id="49" name="Text Placeholder 6"/>
          <p:cNvSpPr>
            <a:spLocks noGrp="1"/>
          </p:cNvSpPr>
          <p:nvPr>
            <p:ph type="body" sz="quarter" idx="25" hasCustomPrompt="1"/>
          </p:nvPr>
        </p:nvSpPr>
        <p:spPr>
          <a:xfrm>
            <a:off x="7724859" y="4793131"/>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
        <p:nvSpPr>
          <p:cNvPr id="50" name="Text Placeholder 6"/>
          <p:cNvSpPr>
            <a:spLocks noGrp="1"/>
          </p:cNvSpPr>
          <p:nvPr>
            <p:ph type="body" sz="quarter" idx="26" hasCustomPrompt="1"/>
          </p:nvPr>
        </p:nvSpPr>
        <p:spPr>
          <a:xfrm>
            <a:off x="7724859" y="4930804"/>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
        <p:nvSpPr>
          <p:cNvPr id="51" name="Text Placeholder 6"/>
          <p:cNvSpPr>
            <a:spLocks noGrp="1"/>
          </p:cNvSpPr>
          <p:nvPr>
            <p:ph type="body" sz="quarter" idx="27" hasCustomPrompt="1"/>
          </p:nvPr>
        </p:nvSpPr>
        <p:spPr>
          <a:xfrm>
            <a:off x="7724859" y="5064154"/>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Tree>
    <p:extLst>
      <p:ext uri="{BB962C8B-B14F-4D97-AF65-F5344CB8AC3E}">
        <p14:creationId xmlns="" xmlns:p14="http://schemas.microsoft.com/office/powerpoint/2010/main" val="324548153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Kontakt Foto x 1">
    <p:spTree>
      <p:nvGrpSpPr>
        <p:cNvPr id="1" name=""/>
        <p:cNvGrpSpPr/>
        <p:nvPr/>
      </p:nvGrpSpPr>
      <p:grpSpPr>
        <a:xfrm>
          <a:off x="0" y="0"/>
          <a:ext cx="0" cy="0"/>
          <a:chOff x="0" y="0"/>
          <a:chExt cx="0" cy="0"/>
        </a:xfrm>
      </p:grpSpPr>
      <p:sp>
        <p:nvSpPr>
          <p:cNvPr id="16" name="Freeform 9"/>
          <p:cNvSpPr>
            <a:spLocks noChangeAspect="1"/>
          </p:cNvSpPr>
          <p:nvPr userDrawn="1"/>
        </p:nvSpPr>
        <p:spPr bwMode="gray">
          <a:xfrm>
            <a:off x="0" y="0"/>
            <a:ext cx="5218113" cy="5399088"/>
          </a:xfrm>
          <a:custGeom>
            <a:avLst/>
            <a:gdLst/>
            <a:ahLst/>
            <a:cxnLst>
              <a:cxn ang="0">
                <a:pos x="0" y="0"/>
              </a:cxn>
              <a:cxn ang="0">
                <a:pos x="0" y="5505"/>
              </a:cxn>
              <a:cxn ang="0">
                <a:pos x="3691" y="5505"/>
              </a:cxn>
              <a:cxn ang="0">
                <a:pos x="5321" y="0"/>
              </a:cxn>
              <a:cxn ang="0">
                <a:pos x="0" y="0"/>
              </a:cxn>
            </a:cxnLst>
            <a:rect l="0" t="0" r="r" b="b"/>
            <a:pathLst>
              <a:path w="5321" h="5505">
                <a:moveTo>
                  <a:pt x="0" y="0"/>
                </a:moveTo>
                <a:lnTo>
                  <a:pt x="0" y="5505"/>
                </a:lnTo>
                <a:lnTo>
                  <a:pt x="3691" y="5505"/>
                </a:lnTo>
                <a:lnTo>
                  <a:pt x="532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sp>
        <p:nvSpPr>
          <p:cNvPr id="17" name="Title 9"/>
          <p:cNvSpPr>
            <a:spLocks noGrp="1"/>
          </p:cNvSpPr>
          <p:nvPr>
            <p:ph type="title"/>
          </p:nvPr>
        </p:nvSpPr>
        <p:spPr bwMode="gray">
          <a:xfrm>
            <a:off x="344488" y="2017893"/>
            <a:ext cx="3816424" cy="792542"/>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40000"/>
              </a:spcBef>
              <a:spcAft>
                <a:spcPct val="0"/>
              </a:spcAft>
              <a:defRPr lang="en-GB" sz="18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noProof="0" smtClean="0"/>
              <a:t>Click to edit Master title style</a:t>
            </a:r>
            <a:endParaRPr lang="de-DE" noProof="0"/>
          </a:p>
        </p:txBody>
      </p:sp>
      <p:pic>
        <p:nvPicPr>
          <p:cNvPr id="19" name="Picture 18" descr="C:\Users\carmenkessler\Desktop\Beispiele ppt  und Grafiken\Logos\Suite of KPMG Logos and Strapline\KPMG_Plus_Strapline_NormalUse\Photoshop\Png\KPMG_Plus_Strapline_NormalUse_White.png"/>
          <p:cNvPicPr>
            <a:picLocks noChangeAspect="1" noChangeArrowheads="1"/>
          </p:cNvPicPr>
          <p:nvPr userDrawn="1"/>
        </p:nvPicPr>
        <p:blipFill>
          <a:blip r:embed="rId2" cstate="print"/>
          <a:srcRect/>
          <a:stretch>
            <a:fillRect/>
          </a:stretch>
        </p:blipFill>
        <p:spPr bwMode="auto">
          <a:xfrm>
            <a:off x="63500" y="0"/>
            <a:ext cx="2818800" cy="1528513"/>
          </a:xfrm>
          <a:prstGeom prst="rect">
            <a:avLst/>
          </a:prstGeom>
          <a:noFill/>
        </p:spPr>
      </p:pic>
      <p:pic>
        <p:nvPicPr>
          <p:cNvPr id="37" name="Picture 4" descr="V:\Verschiedenes\2012\brainnet\BrainNet_Logo2002095_ppt2.emf"/>
          <p:cNvPicPr>
            <a:picLocks noChangeAspect="1" noChangeArrowheads="1"/>
          </p:cNvPicPr>
          <p:nvPr userDrawn="1"/>
        </p:nvPicPr>
        <p:blipFill rotWithShape="1">
          <a:blip r:embed="rId3" cstate="print"/>
          <a:srcRect l="10175"/>
          <a:stretch/>
        </p:blipFill>
        <p:spPr bwMode="auto">
          <a:xfrm>
            <a:off x="7620000" y="386256"/>
            <a:ext cx="2013520" cy="756000"/>
          </a:xfrm>
          <a:prstGeom prst="rect">
            <a:avLst/>
          </a:prstGeom>
          <a:noFill/>
        </p:spPr>
      </p:pic>
      <p:sp>
        <p:nvSpPr>
          <p:cNvPr id="14" name="Picture Placeholder 2"/>
          <p:cNvSpPr>
            <a:spLocks noGrp="1"/>
          </p:cNvSpPr>
          <p:nvPr>
            <p:ph type="pic" sz="quarter" idx="17"/>
          </p:nvPr>
        </p:nvSpPr>
        <p:spPr>
          <a:xfrm>
            <a:off x="6385011" y="2513948"/>
            <a:ext cx="1143000" cy="1398587"/>
          </a:xfrm>
          <a:prstGeom prst="rect">
            <a:avLst/>
          </a:prstGeom>
          <a:solidFill>
            <a:schemeClr val="bg1"/>
          </a:solidFill>
        </p:spPr>
        <p:txBody>
          <a:bodyPr vert="horz" lIns="0" tIns="0" rIns="0" bIns="0" rtlCol="0">
            <a:noAutofit/>
          </a:bodyPr>
          <a:lstStyle>
            <a:lvl1pPr marL="0" indent="0" algn="l" defTabSz="914400" rtl="0" eaLnBrk="1" latinLnBrk="0" hangingPunct="1">
              <a:lnSpc>
                <a:spcPct val="100000"/>
              </a:lnSpc>
              <a:spcBef>
                <a:spcPts val="600"/>
              </a:spcBef>
              <a:buFont typeface="Arial" pitchFamily="34" charset="0"/>
              <a:buNone/>
              <a:defRPr lang="de-DE" sz="1200" b="1" kern="1200" noProof="0">
                <a:solidFill>
                  <a:srgbClr val="00338D"/>
                </a:solidFill>
                <a:latin typeface="Arial"/>
                <a:ea typeface="+mn-ea"/>
                <a:cs typeface="Arial" pitchFamily="34" charset="0"/>
              </a:defRPr>
            </a:lvl1pPr>
          </a:lstStyle>
          <a:p>
            <a:r>
              <a:rPr lang="en-US" noProof="0" smtClean="0"/>
              <a:t>Click icon to add picture</a:t>
            </a:r>
            <a:endParaRPr lang="de-DE" noProof="0" dirty="0"/>
          </a:p>
        </p:txBody>
      </p:sp>
      <p:sp>
        <p:nvSpPr>
          <p:cNvPr id="21" name="Text Placeholder 21"/>
          <p:cNvSpPr>
            <a:spLocks noGrp="1"/>
          </p:cNvSpPr>
          <p:nvPr>
            <p:ph type="body" sz="quarter" idx="10" hasCustomPrompt="1"/>
          </p:nvPr>
        </p:nvSpPr>
        <p:spPr>
          <a:xfrm>
            <a:off x="5999345" y="4172562"/>
            <a:ext cx="1964310" cy="180045"/>
          </a:xfrm>
          <a:prstGeom prst="rect">
            <a:avLst/>
          </a:prstGeom>
        </p:spPr>
        <p:txBody>
          <a:bodyPr/>
          <a:lstStyle>
            <a:lvl1pPr>
              <a:spcBef>
                <a:spcPts val="0"/>
              </a:spcBef>
              <a:buNone/>
              <a:defRPr sz="1000" b="1" baseline="0">
                <a:solidFill>
                  <a:schemeClr val="tx1"/>
                </a:solidFill>
              </a:defRPr>
            </a:lvl1pPr>
          </a:lstStyle>
          <a:p>
            <a:pPr lvl="0"/>
            <a:r>
              <a:rPr lang="de-DE" noProof="0" dirty="0" smtClean="0"/>
              <a:t>Name Family Name</a:t>
            </a:r>
          </a:p>
        </p:txBody>
      </p:sp>
      <p:sp>
        <p:nvSpPr>
          <p:cNvPr id="23" name="Text Placeholder 21"/>
          <p:cNvSpPr>
            <a:spLocks noGrp="1"/>
          </p:cNvSpPr>
          <p:nvPr>
            <p:ph type="body" sz="quarter" idx="11" hasCustomPrompt="1"/>
          </p:nvPr>
        </p:nvSpPr>
        <p:spPr>
          <a:xfrm>
            <a:off x="5998799" y="4352607"/>
            <a:ext cx="1964310" cy="378293"/>
          </a:xfrm>
          <a:prstGeom prst="rect">
            <a:avLst/>
          </a:prstGeom>
        </p:spPr>
        <p:txBody>
          <a:bodyPr/>
          <a:lstStyle>
            <a:lvl1pPr>
              <a:spcBef>
                <a:spcPts val="0"/>
              </a:spcBef>
              <a:buNone/>
              <a:defRPr sz="1000" b="0" baseline="0">
                <a:solidFill>
                  <a:schemeClr val="tx1"/>
                </a:solidFill>
              </a:defRPr>
            </a:lvl1pPr>
          </a:lstStyle>
          <a:p>
            <a:pPr lvl="0"/>
            <a:r>
              <a:rPr lang="de-DE" noProof="0" dirty="0" smtClean="0"/>
              <a:t>Department</a:t>
            </a:r>
          </a:p>
          <a:p>
            <a:pPr lvl="0"/>
            <a:r>
              <a:rPr lang="de-DE" noProof="0" dirty="0" smtClean="0"/>
              <a:t>Job Title</a:t>
            </a:r>
            <a:endParaRPr lang="de-DE" noProof="0" dirty="0"/>
          </a:p>
        </p:txBody>
      </p:sp>
      <p:sp>
        <p:nvSpPr>
          <p:cNvPr id="24" name="Rectangle 19"/>
          <p:cNvSpPr/>
          <p:nvPr userDrawn="1"/>
        </p:nvSpPr>
        <p:spPr>
          <a:xfrm>
            <a:off x="5900031" y="4748626"/>
            <a:ext cx="232787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smtClean="0">
                <a:solidFill>
                  <a:srgbClr val="000000"/>
                </a:solidFill>
              </a:rPr>
              <a:t>T:</a:t>
            </a:r>
          </a:p>
          <a:p>
            <a:r>
              <a:rPr lang="de-DE" sz="1000" smtClean="0">
                <a:solidFill>
                  <a:srgbClr val="000000"/>
                </a:solidFill>
              </a:rPr>
              <a:t>M:</a:t>
            </a:r>
          </a:p>
          <a:p>
            <a:r>
              <a:rPr lang="de-DE" sz="1000" smtClean="0">
                <a:solidFill>
                  <a:srgbClr val="000000"/>
                </a:solidFill>
              </a:rPr>
              <a:t>F:</a:t>
            </a:r>
            <a:endParaRPr lang="de-DE" sz="1000">
              <a:solidFill>
                <a:srgbClr val="000000"/>
              </a:solidFill>
            </a:endParaRPr>
          </a:p>
        </p:txBody>
      </p:sp>
      <p:sp>
        <p:nvSpPr>
          <p:cNvPr id="25" name="Text Placeholder 21"/>
          <p:cNvSpPr>
            <a:spLocks noGrp="1"/>
          </p:cNvSpPr>
          <p:nvPr>
            <p:ph type="body" sz="quarter" idx="13" hasCustomPrompt="1"/>
          </p:nvPr>
        </p:nvSpPr>
        <p:spPr>
          <a:xfrm>
            <a:off x="5998799" y="5252682"/>
            <a:ext cx="1964310" cy="189147"/>
          </a:xfrm>
          <a:prstGeom prst="rect">
            <a:avLst/>
          </a:prstGeom>
        </p:spPr>
        <p:txBody>
          <a:bodyPr/>
          <a:lstStyle>
            <a:lvl1pPr>
              <a:spcBef>
                <a:spcPts val="0"/>
              </a:spcBef>
              <a:buNone/>
              <a:defRPr sz="1000" b="0" baseline="0">
                <a:solidFill>
                  <a:schemeClr val="tx1"/>
                </a:solidFill>
              </a:defRPr>
            </a:lvl1pPr>
          </a:lstStyle>
          <a:p>
            <a:pPr lvl="0"/>
            <a:r>
              <a:rPr lang="de-DE" noProof="0" dirty="0" smtClean="0"/>
              <a:t>maxmustermann@kpmg.com</a:t>
            </a:r>
          </a:p>
        </p:txBody>
      </p:sp>
      <p:sp>
        <p:nvSpPr>
          <p:cNvPr id="26" name="Text Placeholder 6"/>
          <p:cNvSpPr>
            <a:spLocks noGrp="1"/>
          </p:cNvSpPr>
          <p:nvPr>
            <p:ph type="body" sz="quarter" idx="19" hasCustomPrompt="1"/>
          </p:nvPr>
        </p:nvSpPr>
        <p:spPr>
          <a:xfrm>
            <a:off x="6337107" y="4793131"/>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
        <p:nvSpPr>
          <p:cNvPr id="27" name="Text Placeholder 6"/>
          <p:cNvSpPr>
            <a:spLocks noGrp="1"/>
          </p:cNvSpPr>
          <p:nvPr>
            <p:ph type="body" sz="quarter" idx="20" hasCustomPrompt="1"/>
          </p:nvPr>
        </p:nvSpPr>
        <p:spPr>
          <a:xfrm>
            <a:off x="6337107" y="4930804"/>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
        <p:nvSpPr>
          <p:cNvPr id="28" name="Text Placeholder 6"/>
          <p:cNvSpPr>
            <a:spLocks noGrp="1"/>
          </p:cNvSpPr>
          <p:nvPr>
            <p:ph type="body" sz="quarter" idx="21" hasCustomPrompt="1"/>
          </p:nvPr>
        </p:nvSpPr>
        <p:spPr>
          <a:xfrm>
            <a:off x="6337107" y="5064154"/>
            <a:ext cx="1626002" cy="127000"/>
          </a:xfrm>
          <a:prstGeom prst="rect">
            <a:avLst/>
          </a:prstGeom>
        </p:spPr>
        <p:txBody>
          <a:bodyPr anchor="ctr" anchorCtr="0"/>
          <a:lstStyle>
            <a:lvl1pPr>
              <a:buNone/>
              <a:defRPr sz="1000" b="0">
                <a:solidFill>
                  <a:schemeClr val="tx1"/>
                </a:solidFill>
              </a:defRPr>
            </a:lvl1pPr>
          </a:lstStyle>
          <a:p>
            <a:pPr lvl="0"/>
            <a:r>
              <a:rPr lang="de-DE" noProof="0" dirty="0" smtClean="0"/>
              <a:t>+49 XXX XXXXXXXX </a:t>
            </a:r>
            <a:endParaRPr lang="de-DE" noProof="0" dirty="0"/>
          </a:p>
        </p:txBody>
      </p:sp>
    </p:spTree>
    <p:extLst>
      <p:ext uri="{BB962C8B-B14F-4D97-AF65-F5344CB8AC3E}">
        <p14:creationId xmlns="" xmlns:p14="http://schemas.microsoft.com/office/powerpoint/2010/main" val="373636724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2" name="Freeform 7"/>
          <p:cNvSpPr>
            <a:spLocks noChangeAspect="1"/>
          </p:cNvSpPr>
          <p:nvPr userDrawn="1"/>
        </p:nvSpPr>
        <p:spPr bwMode="gray">
          <a:xfrm>
            <a:off x="0" y="0"/>
            <a:ext cx="5218113" cy="3240088"/>
          </a:xfrm>
          <a:custGeom>
            <a:avLst/>
            <a:gdLst/>
            <a:ahLst/>
            <a:cxnLst>
              <a:cxn ang="0">
                <a:pos x="0" y="0"/>
              </a:cxn>
              <a:cxn ang="0">
                <a:pos x="0" y="12405"/>
              </a:cxn>
              <a:cxn ang="0">
                <a:pos x="16308" y="12405"/>
              </a:cxn>
              <a:cxn ang="0">
                <a:pos x="19984" y="0"/>
              </a:cxn>
              <a:cxn ang="0">
                <a:pos x="0" y="0"/>
              </a:cxn>
            </a:cxnLst>
            <a:rect l="0" t="0" r="r" b="b"/>
            <a:pathLst>
              <a:path w="19984" h="12405">
                <a:moveTo>
                  <a:pt x="0" y="0"/>
                </a:moveTo>
                <a:lnTo>
                  <a:pt x="0" y="12405"/>
                </a:lnTo>
                <a:lnTo>
                  <a:pt x="16308" y="12405"/>
                </a:lnTo>
                <a:lnTo>
                  <a:pt x="19984"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sp>
        <p:nvSpPr>
          <p:cNvPr id="4" name="Text Placeholder 4"/>
          <p:cNvSpPr>
            <a:spLocks noGrp="1"/>
          </p:cNvSpPr>
          <p:nvPr>
            <p:ph type="body" sz="quarter" idx="10"/>
          </p:nvPr>
        </p:nvSpPr>
        <p:spPr bwMode="gray">
          <a:xfrm>
            <a:off x="273050" y="4291200"/>
            <a:ext cx="4013350" cy="1874650"/>
          </a:xfrm>
          <a:prstGeom prst="rect">
            <a:avLst/>
          </a:prstGeom>
          <a:noFill/>
          <a:ln w="9525">
            <a:noFill/>
            <a:miter lim="800000"/>
            <a:headEnd/>
            <a:tailEnd/>
          </a:ln>
        </p:spPr>
        <p:txBody>
          <a:bodyPr vert="horz" lIns="0" tIns="0" rIns="0" bIns="0" rtlCol="0" anchor="b">
            <a:noAutofit/>
          </a:bodyPr>
          <a:lstStyle>
            <a:lvl1pPr>
              <a:buNone/>
              <a:defRPr lang="de-DE" sz="1000" b="0" kern="1200" noProof="0" dirty="0" smtClean="0">
                <a:solidFill>
                  <a:schemeClr val="tx1"/>
                </a:solidFill>
                <a:latin typeface="+mn-lt"/>
                <a:ea typeface="+mn-ea"/>
                <a:cs typeface="+mn-cs"/>
              </a:defRPr>
            </a:lvl1pPr>
          </a:lstStyle>
          <a:p>
            <a:pPr marL="0" lvl="0" indent="0" algn="l" defTabSz="914400" rtl="0" eaLnBrk="1" latinLnBrk="0" hangingPunct="1">
              <a:lnSpc>
                <a:spcPct val="100000"/>
              </a:lnSpc>
              <a:spcBef>
                <a:spcPts val="600"/>
              </a:spcBef>
              <a:buFont typeface="Arial" pitchFamily="34" charset="0"/>
              <a:buNone/>
            </a:pPr>
            <a:r>
              <a:rPr lang="en-US" sz="1000" noProof="0" smtClean="0"/>
              <a:t>Click to edit Master text styles</a:t>
            </a:r>
          </a:p>
        </p:txBody>
      </p:sp>
      <p:pic>
        <p:nvPicPr>
          <p:cNvPr id="10" name="Picture 9" descr="C:\Users\carmenkessler\Desktop\Beispiele ppt  und Grafiken\Logos\Suite of KPMG Logos and Strapline\KPMG_Plus_Strapline_NormalUse\Photoshop\Png\KPMG_Plus_Strapline_NormalUse_White.png"/>
          <p:cNvPicPr>
            <a:picLocks noChangeAspect="1" noChangeArrowheads="1"/>
          </p:cNvPicPr>
          <p:nvPr userDrawn="1"/>
        </p:nvPicPr>
        <p:blipFill>
          <a:blip r:embed="rId2" cstate="print"/>
          <a:srcRect/>
          <a:stretch>
            <a:fillRect/>
          </a:stretch>
        </p:blipFill>
        <p:spPr bwMode="auto">
          <a:xfrm>
            <a:off x="63500" y="0"/>
            <a:ext cx="2818800" cy="1528513"/>
          </a:xfrm>
          <a:prstGeom prst="rect">
            <a:avLst/>
          </a:prstGeom>
          <a:noFill/>
        </p:spPr>
      </p:pic>
      <p:pic>
        <p:nvPicPr>
          <p:cNvPr id="11" name="Picture 4" descr="V:\Verschiedenes\2012\brainnet\BrainNet_Logo2002095_ppt2.emf"/>
          <p:cNvPicPr>
            <a:picLocks noChangeAspect="1" noChangeArrowheads="1"/>
          </p:cNvPicPr>
          <p:nvPr userDrawn="1"/>
        </p:nvPicPr>
        <p:blipFill rotWithShape="1">
          <a:blip r:embed="rId3" cstate="print"/>
          <a:srcRect l="10175"/>
          <a:stretch/>
        </p:blipFill>
        <p:spPr bwMode="auto">
          <a:xfrm>
            <a:off x="7620000" y="386256"/>
            <a:ext cx="2013520" cy="756000"/>
          </a:xfrm>
          <a:prstGeom prst="rect">
            <a:avLst/>
          </a:prstGeom>
          <a:noFill/>
        </p:spPr>
      </p:pic>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noProof="0" smtClean="0"/>
              <a:t>Click to edit Master title style</a:t>
            </a:r>
            <a:endParaRPr lang="en-US" noProof="0"/>
          </a:p>
        </p:txBody>
      </p:sp>
      <p:sp>
        <p:nvSpPr>
          <p:cNvPr id="6" name="Text Placeholder 9"/>
          <p:cNvSpPr>
            <a:spLocks noGrp="1"/>
          </p:cNvSpPr>
          <p:nvPr>
            <p:ph type="body" sz="quarter" idx="14" hasCustomPrompt="1"/>
          </p:nvPr>
        </p:nvSpPr>
        <p:spPr>
          <a:xfrm>
            <a:off x="273050" y="6201324"/>
            <a:ext cx="4611539" cy="144000"/>
          </a:xfrm>
          <a:prstGeom prst="rect">
            <a:avLst/>
          </a:prstGeom>
        </p:spPr>
        <p:txBody>
          <a:bodyPr anchor="ctr"/>
          <a:lstStyle>
            <a:lvl1pPr>
              <a:defRPr sz="800" b="0" baseline="0">
                <a:solidFill>
                  <a:schemeClr val="tx1"/>
                </a:solidFill>
              </a:defRPr>
            </a:lvl1pPr>
          </a:lstStyle>
          <a:p>
            <a:pPr lvl="0"/>
            <a:r>
              <a:rPr lang="en-US" noProof="0" smtClean="0"/>
              <a:t>Footnote 1</a:t>
            </a:r>
            <a:endParaRPr lang="en-US" noProof="0"/>
          </a:p>
        </p:txBody>
      </p:sp>
      <p:sp>
        <p:nvSpPr>
          <p:cNvPr id="8" name="Text Placeholder 9"/>
          <p:cNvSpPr>
            <a:spLocks noGrp="1"/>
          </p:cNvSpPr>
          <p:nvPr>
            <p:ph type="body" sz="quarter" idx="13" hasCustomPrompt="1"/>
          </p:nvPr>
        </p:nvSpPr>
        <p:spPr>
          <a:xfrm>
            <a:off x="5009607" y="6201324"/>
            <a:ext cx="2785654" cy="144000"/>
          </a:xfrm>
          <a:prstGeom prst="rect">
            <a:avLst/>
          </a:prstGeom>
        </p:spPr>
        <p:txBody>
          <a:bodyPr anchor="ctr"/>
          <a:lstStyle>
            <a:lvl1pPr>
              <a:defRPr sz="800" b="0" baseline="0">
                <a:solidFill>
                  <a:schemeClr val="tx1"/>
                </a:solidFill>
              </a:defRPr>
            </a:lvl1pPr>
          </a:lstStyle>
          <a:p>
            <a:pPr lvl="0"/>
            <a:r>
              <a:rPr lang="en-US" noProof="0" smtClean="0"/>
              <a:t>Footnote 2</a:t>
            </a:r>
            <a:endParaRPr lang="en-US"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789598817"/>
              </p:ext>
            </p:extLst>
          </p:nvPr>
        </p:nvGraphicFramePr>
        <p:xfrm>
          <a:off x="0" y="0"/>
          <a:ext cx="158750" cy="158750"/>
        </p:xfrm>
        <a:graphic>
          <a:graphicData uri="http://schemas.openxmlformats.org/presentationml/2006/ole">
            <p:oleObj spid="_x0000_s97287" name="think-cell Slide" r:id="rId3" imgW="360" imgH="360" progId="TCLayout.ActiveDocument.1">
              <p:embed/>
            </p:oleObj>
          </a:graphicData>
        </a:graphic>
      </p:graphicFrame>
      <p:sp>
        <p:nvSpPr>
          <p:cNvPr id="8" name="Freeform 9"/>
          <p:cNvSpPr>
            <a:spLocks noChangeAspect="1"/>
          </p:cNvSpPr>
          <p:nvPr userDrawn="1"/>
        </p:nvSpPr>
        <p:spPr bwMode="white">
          <a:xfrm>
            <a:off x="-19050" y="0"/>
            <a:ext cx="5218113" cy="5399088"/>
          </a:xfrm>
          <a:custGeom>
            <a:avLst/>
            <a:gdLst/>
            <a:ahLst/>
            <a:cxnLst>
              <a:cxn ang="0">
                <a:pos x="0" y="0"/>
              </a:cxn>
              <a:cxn ang="0">
                <a:pos x="0" y="5505"/>
              </a:cxn>
              <a:cxn ang="0">
                <a:pos x="3691" y="5505"/>
              </a:cxn>
              <a:cxn ang="0">
                <a:pos x="5321" y="0"/>
              </a:cxn>
              <a:cxn ang="0">
                <a:pos x="0" y="0"/>
              </a:cxn>
            </a:cxnLst>
            <a:rect l="0" t="0" r="r" b="b"/>
            <a:pathLst>
              <a:path w="5321" h="5505">
                <a:moveTo>
                  <a:pt x="0" y="0"/>
                </a:moveTo>
                <a:lnTo>
                  <a:pt x="0" y="5505"/>
                </a:lnTo>
                <a:lnTo>
                  <a:pt x="3691" y="5505"/>
                </a:lnTo>
                <a:lnTo>
                  <a:pt x="532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pic>
        <p:nvPicPr>
          <p:cNvPr id="13" name="Picture 12" descr="C:\Users\carmenkessler\Desktop\Beispiele ppt  und Grafiken\Logos\Suite of KPMG Logos and Strapline\KPMG_Plus_Strapline_NormalUse\Photoshop\Png\KPMG_Plus_Strapline_NormalUse_White.png"/>
          <p:cNvPicPr>
            <a:picLocks noChangeAspect="1" noChangeArrowheads="1"/>
          </p:cNvPicPr>
          <p:nvPr userDrawn="1"/>
        </p:nvPicPr>
        <p:blipFill>
          <a:blip r:embed="rId4" cstate="print"/>
          <a:srcRect/>
          <a:stretch>
            <a:fillRect/>
          </a:stretch>
        </p:blipFill>
        <p:spPr bwMode="auto">
          <a:xfrm>
            <a:off x="63500" y="0"/>
            <a:ext cx="2818800" cy="1528513"/>
          </a:xfrm>
          <a:prstGeom prst="rect">
            <a:avLst/>
          </a:prstGeom>
          <a:noFill/>
        </p:spPr>
      </p:pic>
      <p:pic>
        <p:nvPicPr>
          <p:cNvPr id="15" name="Picture 4" descr="V:\Verschiedenes\2012\brainnet\BrainNet_Logo2002095_ppt2.emf"/>
          <p:cNvPicPr>
            <a:picLocks noChangeAspect="1" noChangeArrowheads="1"/>
          </p:cNvPicPr>
          <p:nvPr userDrawn="1"/>
        </p:nvPicPr>
        <p:blipFill rotWithShape="1">
          <a:blip r:embed="rId5" cstate="print"/>
          <a:srcRect l="10175"/>
          <a:stretch/>
        </p:blipFill>
        <p:spPr bwMode="auto">
          <a:xfrm>
            <a:off x="7620000" y="386256"/>
            <a:ext cx="2013520" cy="756000"/>
          </a:xfrm>
          <a:prstGeom prst="rect">
            <a:avLst/>
          </a:prstGeom>
          <a:noFill/>
        </p:spPr>
      </p:pic>
      <p:sp>
        <p:nvSpPr>
          <p:cNvPr id="10" name="Title 9"/>
          <p:cNvSpPr>
            <a:spLocks noGrp="1"/>
          </p:cNvSpPr>
          <p:nvPr>
            <p:ph type="title"/>
          </p:nvPr>
        </p:nvSpPr>
        <p:spPr bwMode="gray">
          <a:xfrm>
            <a:off x="344488" y="1412776"/>
            <a:ext cx="3816424" cy="2160240"/>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noProof="0" smtClean="0"/>
              <a:t>Click to edit Master title style</a:t>
            </a:r>
            <a:endParaRPr lang="en-US" noProof="0" dirty="0"/>
          </a:p>
        </p:txBody>
      </p:sp>
      <p:sp>
        <p:nvSpPr>
          <p:cNvPr id="11" name="Text Placeholder 16"/>
          <p:cNvSpPr>
            <a:spLocks noGrp="1"/>
          </p:cNvSpPr>
          <p:nvPr>
            <p:ph type="body" sz="quarter" idx="10"/>
          </p:nvPr>
        </p:nvSpPr>
        <p:spPr bwMode="gray">
          <a:xfrm>
            <a:off x="344488" y="3789363"/>
            <a:ext cx="3384550" cy="10795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ts val="600"/>
              </a:spcBef>
              <a:spcAft>
                <a:spcPct val="0"/>
              </a:spcAft>
              <a:buNone/>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noProof="0" smtClean="0"/>
              <a:t>Click to edit Master text styles</a:t>
            </a: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8" name="Object 7" hidden="1"/>
          <p:cNvGraphicFramePr>
            <a:graphicFrameLocks/>
          </p:cNvGraphicFramePr>
          <p:nvPr userDrawn="1">
            <p:extLst>
              <p:ext uri="{D42A27DB-BD31-4B8C-83A1-F6EECF244321}">
                <p14:modId xmlns:p14="http://schemas.microsoft.com/office/powerpoint/2010/main" xmlns="" val="1274872681"/>
              </p:ext>
            </p:extLst>
          </p:nvPr>
        </p:nvGraphicFramePr>
        <p:xfrm>
          <a:off x="1587" y="1588"/>
          <a:ext cx="1587" cy="1587"/>
        </p:xfrm>
        <a:graphic>
          <a:graphicData uri="http://schemas.openxmlformats.org/presentationml/2006/ole">
            <p:oleObj spid="_x0000_s143362" name="think-cell Slide" r:id="rId3" imgW="360" imgH="360" progId="TCLayout.ActiveDocument.1">
              <p:embed/>
            </p:oleObj>
          </a:graphicData>
        </a:graphic>
      </p:graphicFrame>
      <p:sp>
        <p:nvSpPr>
          <p:cNvPr id="7" name="Text Placeholder 6"/>
          <p:cNvSpPr>
            <a:spLocks noGrp="1"/>
          </p:cNvSpPr>
          <p:nvPr>
            <p:ph type="body" sz="quarter" idx="10"/>
          </p:nvPr>
        </p:nvSpPr>
        <p:spPr bwMode="gray">
          <a:xfrm>
            <a:off x="272480" y="1268760"/>
            <a:ext cx="9361040" cy="4896000"/>
          </a:xfrm>
          <a:prstGeom prst="rect">
            <a:avLst/>
          </a:prstGeo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0" name="Text Placeholder 9"/>
          <p:cNvSpPr>
            <a:spLocks noGrp="1"/>
          </p:cNvSpPr>
          <p:nvPr>
            <p:ph type="body" sz="quarter" idx="12" hasCustomPrompt="1"/>
          </p:nvPr>
        </p:nvSpPr>
        <p:spPr>
          <a:xfrm>
            <a:off x="273050" y="6201324"/>
            <a:ext cx="4611539" cy="144000"/>
          </a:xfrm>
          <a:prstGeom prst="rect">
            <a:avLst/>
          </a:prstGeom>
        </p:spPr>
        <p:txBody>
          <a:bodyPr anchor="ctr"/>
          <a:lstStyle>
            <a:lvl1pPr>
              <a:defRPr sz="800" b="0" baseline="0">
                <a:solidFill>
                  <a:schemeClr val="tx1"/>
                </a:solidFill>
              </a:defRPr>
            </a:lvl1pPr>
          </a:lstStyle>
          <a:p>
            <a:pPr lvl="0"/>
            <a:r>
              <a:rPr lang="en-US" noProof="0" smtClean="0"/>
              <a:t>Footnote 1</a:t>
            </a:r>
            <a:endParaRPr lang="en-US" noProof="0"/>
          </a:p>
        </p:txBody>
      </p:sp>
      <p:sp>
        <p:nvSpPr>
          <p:cNvPr id="11" name="Text Placeholder 9"/>
          <p:cNvSpPr>
            <a:spLocks noGrp="1"/>
          </p:cNvSpPr>
          <p:nvPr>
            <p:ph type="body" sz="quarter" idx="13" hasCustomPrompt="1"/>
          </p:nvPr>
        </p:nvSpPr>
        <p:spPr>
          <a:xfrm>
            <a:off x="5009607" y="6201324"/>
            <a:ext cx="2785654" cy="144000"/>
          </a:xfrm>
          <a:prstGeom prst="rect">
            <a:avLst/>
          </a:prstGeom>
        </p:spPr>
        <p:txBody>
          <a:bodyPr anchor="ctr"/>
          <a:lstStyle>
            <a:lvl1pPr>
              <a:defRPr sz="800" b="0" baseline="0">
                <a:solidFill>
                  <a:schemeClr val="tx1"/>
                </a:solidFill>
              </a:defRPr>
            </a:lvl1pPr>
          </a:lstStyle>
          <a:p>
            <a:pPr lvl="0"/>
            <a:r>
              <a:rPr lang="en-US" noProof="0" smtClean="0"/>
              <a:t>Footnote 2</a:t>
            </a:r>
            <a:endParaRPr lang="en-US" noProof="0"/>
          </a:p>
        </p:txBody>
      </p:sp>
      <p:sp>
        <p:nvSpPr>
          <p:cNvPr id="9"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noProof="0" smtClean="0"/>
              <a:t>Click to edit Master title style</a:t>
            </a:r>
            <a:endParaRPr lang="en-US" noProof="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Kundenlogo">
    <p:spTree>
      <p:nvGrpSpPr>
        <p:cNvPr id="1" name=""/>
        <p:cNvGrpSpPr/>
        <p:nvPr/>
      </p:nvGrpSpPr>
      <p:grpSpPr>
        <a:xfrm>
          <a:off x="0" y="0"/>
          <a:ext cx="0" cy="0"/>
          <a:chOff x="0" y="0"/>
          <a:chExt cx="0" cy="0"/>
        </a:xfrm>
      </p:grpSpPr>
      <p:grpSp>
        <p:nvGrpSpPr>
          <p:cNvPr id="13" name="Group 12"/>
          <p:cNvGrpSpPr/>
          <p:nvPr userDrawn="1"/>
        </p:nvGrpSpPr>
        <p:grpSpPr bwMode="gray">
          <a:xfrm>
            <a:off x="-11112" y="-1"/>
            <a:ext cx="9917112" cy="6858001"/>
            <a:chOff x="-11112" y="-1"/>
            <a:chExt cx="9917112" cy="6858001"/>
          </a:xfrm>
        </p:grpSpPr>
        <p:sp>
          <p:nvSpPr>
            <p:cNvPr id="16" name="Freeform 12"/>
            <p:cNvSpPr>
              <a:spLocks/>
            </p:cNvSpPr>
            <p:nvPr userDrawn="1"/>
          </p:nvSpPr>
          <p:spPr bwMode="gray">
            <a:xfrm>
              <a:off x="-11112" y="-1"/>
              <a:ext cx="5397500" cy="3236913"/>
            </a:xfrm>
            <a:custGeom>
              <a:avLst/>
              <a:gdLst/>
              <a:ahLst/>
              <a:cxnLst>
                <a:cxn ang="0">
                  <a:pos x="0" y="0"/>
                </a:cxn>
                <a:cxn ang="0">
                  <a:pos x="0" y="2039"/>
                </a:cxn>
                <a:cxn ang="0">
                  <a:pos x="2796" y="2039"/>
                </a:cxn>
                <a:cxn ang="0">
                  <a:pos x="3400" y="0"/>
                </a:cxn>
                <a:cxn ang="0">
                  <a:pos x="0" y="0"/>
                </a:cxn>
              </a:cxnLst>
              <a:rect l="0" t="0" r="r" b="b"/>
              <a:pathLst>
                <a:path w="3400" h="2039">
                  <a:moveTo>
                    <a:pt x="0" y="0"/>
                  </a:moveTo>
                  <a:lnTo>
                    <a:pt x="0" y="2039"/>
                  </a:lnTo>
                  <a:lnTo>
                    <a:pt x="2796" y="2039"/>
                  </a:lnTo>
                  <a:lnTo>
                    <a:pt x="340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sp>
          <p:nvSpPr>
            <p:cNvPr id="22" name="Freeform 10"/>
            <p:cNvSpPr>
              <a:spLocks/>
            </p:cNvSpPr>
            <p:nvPr userDrawn="1"/>
          </p:nvSpPr>
          <p:spPr bwMode="gray">
            <a:xfrm>
              <a:off x="2349500" y="1819274"/>
              <a:ext cx="7556500" cy="5038726"/>
            </a:xfrm>
            <a:custGeom>
              <a:avLst/>
              <a:gdLst/>
              <a:ahLst/>
              <a:cxnLst>
                <a:cxn ang="0">
                  <a:pos x="940" y="0"/>
                </a:cxn>
                <a:cxn ang="0">
                  <a:pos x="0" y="3174"/>
                </a:cxn>
                <a:cxn ang="0">
                  <a:pos x="4760" y="3174"/>
                </a:cxn>
                <a:cxn ang="0">
                  <a:pos x="4760" y="0"/>
                </a:cxn>
                <a:cxn ang="0">
                  <a:pos x="940" y="0"/>
                </a:cxn>
              </a:cxnLst>
              <a:rect l="0" t="0" r="r" b="b"/>
              <a:pathLst>
                <a:path w="4760" h="3174">
                  <a:moveTo>
                    <a:pt x="940" y="0"/>
                  </a:moveTo>
                  <a:lnTo>
                    <a:pt x="0" y="3174"/>
                  </a:lnTo>
                  <a:lnTo>
                    <a:pt x="4760" y="3174"/>
                  </a:lnTo>
                  <a:lnTo>
                    <a:pt x="4760" y="0"/>
                  </a:lnTo>
                  <a:lnTo>
                    <a:pt x="94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sp>
          <p:nvSpPr>
            <p:cNvPr id="23" name="Freeform 14"/>
            <p:cNvSpPr>
              <a:spLocks/>
            </p:cNvSpPr>
            <p:nvPr userDrawn="1"/>
          </p:nvSpPr>
          <p:spPr bwMode="gray">
            <a:xfrm>
              <a:off x="3421063" y="1819274"/>
              <a:ext cx="1425575" cy="1417638"/>
            </a:xfrm>
            <a:custGeom>
              <a:avLst/>
              <a:gdLst/>
              <a:ahLst/>
              <a:cxnLst>
                <a:cxn ang="0">
                  <a:pos x="898" y="0"/>
                </a:cxn>
                <a:cxn ang="0">
                  <a:pos x="265" y="0"/>
                </a:cxn>
                <a:cxn ang="0">
                  <a:pos x="0" y="893"/>
                </a:cxn>
                <a:cxn ang="0">
                  <a:pos x="633" y="893"/>
                </a:cxn>
                <a:cxn ang="0">
                  <a:pos x="898" y="0"/>
                </a:cxn>
              </a:cxnLst>
              <a:rect l="0" t="0" r="r" b="b"/>
              <a:pathLst>
                <a:path w="898" h="893">
                  <a:moveTo>
                    <a:pt x="898" y="0"/>
                  </a:moveTo>
                  <a:lnTo>
                    <a:pt x="265" y="0"/>
                  </a:lnTo>
                  <a:lnTo>
                    <a:pt x="0" y="893"/>
                  </a:lnTo>
                  <a:lnTo>
                    <a:pt x="633" y="893"/>
                  </a:lnTo>
                  <a:lnTo>
                    <a:pt x="898" y="0"/>
                  </a:lnTo>
                  <a:close/>
                </a:path>
              </a:pathLst>
            </a:custGeom>
            <a:solidFill>
              <a:srgbClr val="00257A"/>
            </a:soli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dirty="0">
                <a:solidFill>
                  <a:schemeClr val="tx1"/>
                </a:solidFill>
                <a:latin typeface="+mn-lt"/>
                <a:ea typeface="+mn-ea"/>
                <a:cs typeface="+mn-cs"/>
              </a:endParaRPr>
            </a:p>
          </p:txBody>
        </p:sp>
      </p:grpSp>
      <p:pic>
        <p:nvPicPr>
          <p:cNvPr id="14" name="Picture 13" descr="C:\Users\carmenkessler\Desktop\Beispiele ppt  und Grafiken\Logos\Suite of KPMG Logos and Strapline\KPMG_Plus_Strapline_NormalUse\Photoshop\Png\KPMG_Plus_Strapline_NormalUse_White.png"/>
          <p:cNvPicPr>
            <a:picLocks noChangeAspect="1" noChangeArrowheads="1"/>
          </p:cNvPicPr>
          <p:nvPr userDrawn="1"/>
        </p:nvPicPr>
        <p:blipFill>
          <a:blip r:embed="rId2" cstate="print"/>
          <a:srcRect/>
          <a:stretch>
            <a:fillRect/>
          </a:stretch>
        </p:blipFill>
        <p:spPr bwMode="auto">
          <a:xfrm>
            <a:off x="63500" y="0"/>
            <a:ext cx="2818800" cy="1528513"/>
          </a:xfrm>
          <a:prstGeom prst="rect">
            <a:avLst/>
          </a:prstGeom>
          <a:noFill/>
        </p:spPr>
      </p:pic>
      <p:pic>
        <p:nvPicPr>
          <p:cNvPr id="15" name="Picture 4" descr="V:\Verschiedenes\2012\brainnet\BrainNet_Logo2002095_ppt2.emf"/>
          <p:cNvPicPr>
            <a:picLocks noChangeAspect="1" noChangeArrowheads="1"/>
          </p:cNvPicPr>
          <p:nvPr userDrawn="1"/>
        </p:nvPicPr>
        <p:blipFill rotWithShape="1">
          <a:blip r:embed="rId3" cstate="print"/>
          <a:srcRect l="10175"/>
          <a:stretch/>
        </p:blipFill>
        <p:spPr bwMode="auto">
          <a:xfrm>
            <a:off x="7620000" y="386256"/>
            <a:ext cx="2013520" cy="756000"/>
          </a:xfrm>
          <a:prstGeom prst="rect">
            <a:avLst/>
          </a:prstGeom>
          <a:noFill/>
        </p:spPr>
      </p:pic>
      <p:sp>
        <p:nvSpPr>
          <p:cNvPr id="11" name="Title 9"/>
          <p:cNvSpPr>
            <a:spLocks noGrp="1"/>
          </p:cNvSpPr>
          <p:nvPr>
            <p:ph type="title"/>
          </p:nvPr>
        </p:nvSpPr>
        <p:spPr bwMode="gray">
          <a:xfrm>
            <a:off x="5025008" y="2492896"/>
            <a:ext cx="4536504" cy="2232248"/>
          </a:xfrm>
          <a:noFill/>
          <a:ln w="9525">
            <a:noFill/>
            <a:miter lim="800000"/>
            <a:headEnd/>
            <a:tailEnd/>
          </a:ln>
        </p:spPr>
        <p:txBody>
          <a:bodyPr vert="horz" wrap="square" lIns="0" tIns="0" rIns="0" bIns="0" numCol="1" anchor="t" anchorCtr="0" compatLnSpc="1">
            <a:prstTxWarp prst="textNoShape">
              <a:avLst/>
            </a:prstTxWarp>
            <a:noAutofit/>
          </a:bodyPr>
          <a:lstStyle>
            <a:lvl1pPr algn="r" rtl="0" eaLnBrk="1" fontAlgn="base" hangingPunct="1">
              <a:spcBef>
                <a:spcPct val="40000"/>
              </a:spcBef>
              <a:spcAft>
                <a:spcPct val="0"/>
              </a:spcAft>
              <a:defRPr lang="en-GB" sz="3000" b="1" dirty="0" smtClean="0">
                <a:solidFill>
                  <a:schemeClr val="bg1"/>
                </a:solidFill>
                <a:latin typeface="+mj-lt"/>
                <a:ea typeface="+mj-ea"/>
                <a:cs typeface="+mj-cs"/>
              </a:defRPr>
            </a:lvl1pPr>
          </a:lstStyle>
          <a:p>
            <a:r>
              <a:rPr lang="en-US" noProof="0" smtClean="0"/>
              <a:t>Click to edit Master title style</a:t>
            </a:r>
            <a:endParaRPr lang="en-US" noProof="0"/>
          </a:p>
        </p:txBody>
      </p:sp>
      <p:sp>
        <p:nvSpPr>
          <p:cNvPr id="12" name="Text Placeholder 16"/>
          <p:cNvSpPr>
            <a:spLocks noGrp="1"/>
          </p:cNvSpPr>
          <p:nvPr>
            <p:ph type="body" sz="quarter" idx="10"/>
          </p:nvPr>
        </p:nvSpPr>
        <p:spPr bwMode="gray">
          <a:xfrm>
            <a:off x="5025008" y="5013176"/>
            <a:ext cx="4536504"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r" rtl="0" eaLnBrk="1" fontAlgn="base" hangingPunct="1">
              <a:lnSpc>
                <a:spcPct val="110000"/>
              </a:lnSpc>
              <a:spcBef>
                <a:spcPts val="600"/>
              </a:spcBef>
              <a:spcAft>
                <a:spcPct val="0"/>
              </a:spcAft>
              <a:buFontTx/>
              <a:buNone/>
              <a:defRPr lang="en-US" sz="1200" b="0" dirty="0" smtClean="0">
                <a:solidFill>
                  <a:schemeClr val="bg1"/>
                </a:solidFill>
                <a:latin typeface="+mn-lt"/>
                <a:ea typeface="+mn-ea"/>
                <a:cs typeface="+mn-cs"/>
              </a:defRPr>
            </a:lvl1pPr>
          </a:lstStyle>
          <a:p>
            <a:pPr lvl="0"/>
            <a:r>
              <a:rPr lang="en-US" noProof="0" smtClean="0"/>
              <a:t>Click to edit Master text styles</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Letter 1">
    <p:spTree>
      <p:nvGrpSpPr>
        <p:cNvPr id="1" name=""/>
        <p:cNvGrpSpPr/>
        <p:nvPr/>
      </p:nvGrpSpPr>
      <p:grpSpPr>
        <a:xfrm>
          <a:off x="0" y="0"/>
          <a:ext cx="0" cy="0"/>
          <a:chOff x="0" y="0"/>
          <a:chExt cx="0" cy="0"/>
        </a:xfrm>
      </p:grpSpPr>
      <p:sp>
        <p:nvSpPr>
          <p:cNvPr id="26" name="Text Placeholder 4"/>
          <p:cNvSpPr>
            <a:spLocks noGrp="1"/>
          </p:cNvSpPr>
          <p:nvPr>
            <p:ph type="body" sz="quarter" idx="10"/>
          </p:nvPr>
        </p:nvSpPr>
        <p:spPr bwMode="gray">
          <a:xfrm>
            <a:off x="273051" y="1269454"/>
            <a:ext cx="4604544" cy="4896396"/>
          </a:xfrm>
          <a:prstGeom prst="rect">
            <a:avLst/>
          </a:prstGeom>
        </p:spPr>
        <p:txBody>
          <a:bodyPr vert="horz" lIns="0" tIns="0" rIns="0" bIns="0" rtlCol="0">
            <a:noAutofit/>
          </a:bodyPr>
          <a:lstStyle>
            <a:lvl1pPr algn="l" defTabSz="914400" rtl="0" eaLnBrk="1" latinLnBrk="0" hangingPunct="1">
              <a:lnSpc>
                <a:spcPct val="100000"/>
              </a:lnSpc>
              <a:spcBef>
                <a:spcPts val="600"/>
              </a:spcBef>
              <a:buFont typeface="Arial" pitchFamily="34" charset="0"/>
              <a:buNone/>
              <a:defRPr lang="de-DE" sz="1000" b="1" kern="1200" noProof="0" smtClean="0">
                <a:solidFill>
                  <a:schemeClr val="tx1"/>
                </a:solidFill>
                <a:latin typeface="Times New Roman" pitchFamily="18" charset="0"/>
                <a:ea typeface="+mn-ea"/>
                <a:cs typeface="Times New Roman" pitchFamily="18" charset="0"/>
              </a:defRPr>
            </a:lvl1pPr>
            <a:lvl2pPr algn="l" defTabSz="914400" rtl="0" eaLnBrk="1" latinLnBrk="0" hangingPunct="1">
              <a:lnSpc>
                <a:spcPct val="100000"/>
              </a:lnSpc>
              <a:spcBef>
                <a:spcPts val="600"/>
              </a:spcBef>
              <a:buFont typeface="Arial" pitchFamily="34" charset="0"/>
              <a:defRPr lang="de-DE" sz="1000" b="0" kern="1200" noProof="0" smtClean="0">
                <a:solidFill>
                  <a:schemeClr val="tx1"/>
                </a:solidFill>
                <a:latin typeface="Times New Roman" pitchFamily="18" charset="0"/>
                <a:ea typeface="+mn-ea"/>
                <a:cs typeface="Times New Roman" pitchFamily="18" charset="0"/>
              </a:defRPr>
            </a:lvl2pPr>
            <a:lvl3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3pPr>
            <a:lvl4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4pPr>
            <a:lvl5pPr algn="l" defTabSz="914400" rtl="0" eaLnBrk="1" latinLnBrk="0" hangingPunct="1">
              <a:lnSpc>
                <a:spcPct val="100000"/>
              </a:lnSpc>
              <a:spcBef>
                <a:spcPts val="600"/>
              </a:spcBef>
              <a:buClrTx/>
              <a:buFont typeface="Arial" pitchFamily="34" charset="0"/>
              <a:defRPr lang="de-DE" sz="1000" b="0" kern="1200" noProof="0" dirty="0">
                <a:solidFill>
                  <a:schemeClr val="tx1"/>
                </a:solidFill>
                <a:latin typeface="Times New Roman" pitchFamily="18" charset="0"/>
                <a:ea typeface="+mn-ea"/>
                <a:cs typeface="Times New Roman" pitchFamily="18" charset="0"/>
              </a:defRPr>
            </a:lvl5pPr>
            <a:lvl6pPr>
              <a:buClrTx/>
              <a:defRPr sz="1000" baseline="0">
                <a:solidFill>
                  <a:schemeClr val="tx1"/>
                </a:solidFill>
                <a:latin typeface="Times New Roman" pitchFamily="18" charset="0"/>
                <a:cs typeface="Times New Roman" pitchFamily="18" charset="0"/>
              </a:defRPr>
            </a:lvl6pPr>
            <a:lvl7pPr>
              <a:buClrTx/>
              <a:defRPr sz="1000" baseline="0">
                <a:solidFill>
                  <a:schemeClr val="tx1"/>
                </a:solidFill>
                <a:latin typeface="Times New Roman" pitchFamily="18" charset="0"/>
                <a:cs typeface="Times New Roman" pitchFamily="18" charset="0"/>
              </a:defRPr>
            </a:lvl7pPr>
            <a:lvl8pPr>
              <a:buClrTx/>
              <a:defRPr sz="1000" baseline="0">
                <a:solidFill>
                  <a:schemeClr val="tx1"/>
                </a:solidFill>
                <a:latin typeface="Times New Roman" pitchFamily="18" charset="0"/>
                <a:cs typeface="Times New Roman" pitchFamily="18" charset="0"/>
              </a:defRPr>
            </a:lvl8pPr>
            <a:lvl9pPr>
              <a:buClrTx/>
              <a:defRPr sz="1000" baseline="0">
                <a:solidFill>
                  <a:schemeClr val="tx1"/>
                </a:solidFill>
                <a:latin typeface="Times New Roman" pitchFamily="18" charset="0"/>
                <a:cs typeface="Times New Roman" pitchFamily="18"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grpSp>
        <p:nvGrpSpPr>
          <p:cNvPr id="28" name="Group 27"/>
          <p:cNvGrpSpPr/>
          <p:nvPr userDrawn="1"/>
        </p:nvGrpSpPr>
        <p:grpSpPr bwMode="gray">
          <a:xfrm>
            <a:off x="175519" y="1"/>
            <a:ext cx="963613" cy="695325"/>
            <a:chOff x="175518" y="0"/>
            <a:chExt cx="963613" cy="695325"/>
          </a:xfrm>
        </p:grpSpPr>
        <p:sp>
          <p:nvSpPr>
            <p:cNvPr id="29" name="Freeform 6"/>
            <p:cNvSpPr>
              <a:spLocks noEditPoints="1"/>
            </p:cNvSpPr>
            <p:nvPr userDrawn="1"/>
          </p:nvSpPr>
          <p:spPr bwMode="gray">
            <a:xfrm>
              <a:off x="286643" y="215900"/>
              <a:ext cx="700088" cy="271463"/>
            </a:xfrm>
            <a:custGeom>
              <a:avLst/>
              <a:gdLst/>
              <a:ahLst/>
              <a:cxnLst>
                <a:cxn ang="0">
                  <a:pos x="6130" y="2584"/>
                </a:cxn>
                <a:cxn ang="0">
                  <a:pos x="6106" y="2594"/>
                </a:cxn>
                <a:cxn ang="0">
                  <a:pos x="5549" y="2661"/>
                </a:cxn>
                <a:cxn ang="0">
                  <a:pos x="5025" y="2423"/>
                </a:cxn>
                <a:cxn ang="0">
                  <a:pos x="4926" y="2101"/>
                </a:cxn>
                <a:cxn ang="0">
                  <a:pos x="4756" y="2101"/>
                </a:cxn>
                <a:cxn ang="0">
                  <a:pos x="4625" y="2625"/>
                </a:cxn>
                <a:cxn ang="0">
                  <a:pos x="4182" y="2625"/>
                </a:cxn>
                <a:cxn ang="0">
                  <a:pos x="4338" y="2101"/>
                </a:cxn>
                <a:cxn ang="0">
                  <a:pos x="4197" y="2101"/>
                </a:cxn>
                <a:cxn ang="0">
                  <a:pos x="3859" y="2625"/>
                </a:cxn>
                <a:cxn ang="0">
                  <a:pos x="3503" y="2625"/>
                </a:cxn>
                <a:cxn ang="0">
                  <a:pos x="3471" y="2101"/>
                </a:cxn>
                <a:cxn ang="0">
                  <a:pos x="3314" y="2101"/>
                </a:cxn>
                <a:cxn ang="0">
                  <a:pos x="3159" y="2625"/>
                </a:cxn>
                <a:cxn ang="0">
                  <a:pos x="2780" y="2625"/>
                </a:cxn>
                <a:cxn ang="0">
                  <a:pos x="2940" y="2101"/>
                </a:cxn>
                <a:cxn ang="0">
                  <a:pos x="2047" y="2101"/>
                </a:cxn>
                <a:cxn ang="0">
                  <a:pos x="2047" y="2093"/>
                </a:cxn>
                <a:cxn ang="0">
                  <a:pos x="1888" y="2626"/>
                </a:cxn>
                <a:cxn ang="0">
                  <a:pos x="1484" y="2626"/>
                </a:cxn>
                <a:cxn ang="0">
                  <a:pos x="1642" y="2101"/>
                </a:cxn>
                <a:cxn ang="0">
                  <a:pos x="1148" y="2101"/>
                </a:cxn>
                <a:cxn ang="0">
                  <a:pos x="1394" y="2626"/>
                </a:cxn>
                <a:cxn ang="0">
                  <a:pos x="927" y="2626"/>
                </a:cxn>
                <a:cxn ang="0">
                  <a:pos x="715" y="2101"/>
                </a:cxn>
                <a:cxn ang="0">
                  <a:pos x="588" y="2101"/>
                </a:cxn>
                <a:cxn ang="0">
                  <a:pos x="442" y="2583"/>
                </a:cxn>
                <a:cxn ang="0">
                  <a:pos x="434" y="2626"/>
                </a:cxn>
                <a:cxn ang="0">
                  <a:pos x="0" y="2626"/>
                </a:cxn>
                <a:cxn ang="0">
                  <a:pos x="397" y="1303"/>
                </a:cxn>
                <a:cxn ang="0">
                  <a:pos x="397" y="0"/>
                </a:cxn>
                <a:cxn ang="0">
                  <a:pos x="1888" y="0"/>
                </a:cxn>
                <a:cxn ang="0">
                  <a:pos x="1888" y="1287"/>
                </a:cxn>
                <a:cxn ang="0">
                  <a:pos x="1944" y="1098"/>
                </a:cxn>
                <a:cxn ang="0">
                  <a:pos x="2047" y="1098"/>
                </a:cxn>
                <a:cxn ang="0">
                  <a:pos x="2047" y="0"/>
                </a:cxn>
                <a:cxn ang="0">
                  <a:pos x="3534" y="0"/>
                </a:cxn>
                <a:cxn ang="0">
                  <a:pos x="3534" y="1098"/>
                </a:cxn>
                <a:cxn ang="0">
                  <a:pos x="3694" y="1098"/>
                </a:cxn>
                <a:cxn ang="0">
                  <a:pos x="3694" y="0"/>
                </a:cxn>
                <a:cxn ang="0">
                  <a:pos x="5180" y="0"/>
                </a:cxn>
                <a:cxn ang="0">
                  <a:pos x="5180" y="1388"/>
                </a:cxn>
                <a:cxn ang="0">
                  <a:pos x="5340" y="1222"/>
                </a:cxn>
                <a:cxn ang="0">
                  <a:pos x="5340" y="0"/>
                </a:cxn>
                <a:cxn ang="0">
                  <a:pos x="6827" y="0"/>
                </a:cxn>
                <a:cxn ang="0">
                  <a:pos x="6827" y="2101"/>
                </a:cxn>
                <a:cxn ang="0">
                  <a:pos x="6266" y="2101"/>
                </a:cxn>
                <a:cxn ang="0">
                  <a:pos x="6130" y="2584"/>
                </a:cxn>
                <a:cxn ang="0">
                  <a:pos x="5342" y="2101"/>
                </a:cxn>
                <a:cxn ang="0">
                  <a:pos x="5386" y="2264"/>
                </a:cxn>
                <a:cxn ang="0">
                  <a:pos x="5610" y="2349"/>
                </a:cxn>
                <a:cxn ang="0">
                  <a:pos x="5788" y="2330"/>
                </a:cxn>
                <a:cxn ang="0">
                  <a:pos x="5861" y="2101"/>
                </a:cxn>
                <a:cxn ang="0">
                  <a:pos x="5342" y="2101"/>
                </a:cxn>
              </a:cxnLst>
              <a:rect l="0" t="0" r="r" b="b"/>
              <a:pathLst>
                <a:path w="6827" h="2661">
                  <a:moveTo>
                    <a:pt x="6130" y="2584"/>
                  </a:moveTo>
                  <a:cubicBezTo>
                    <a:pt x="6106" y="2594"/>
                    <a:pt x="6106" y="2594"/>
                    <a:pt x="6106" y="2594"/>
                  </a:cubicBezTo>
                  <a:cubicBezTo>
                    <a:pt x="6010" y="2632"/>
                    <a:pt x="5728" y="2661"/>
                    <a:pt x="5549" y="2661"/>
                  </a:cubicBezTo>
                  <a:cubicBezTo>
                    <a:pt x="5381" y="2661"/>
                    <a:pt x="5156" y="2599"/>
                    <a:pt x="5025" y="2423"/>
                  </a:cubicBezTo>
                  <a:cubicBezTo>
                    <a:pt x="4975" y="2355"/>
                    <a:pt x="4927" y="2250"/>
                    <a:pt x="4926" y="2101"/>
                  </a:cubicBezTo>
                  <a:cubicBezTo>
                    <a:pt x="4756" y="2101"/>
                    <a:pt x="4756" y="2101"/>
                    <a:pt x="4756" y="2101"/>
                  </a:cubicBezTo>
                  <a:cubicBezTo>
                    <a:pt x="4625" y="2625"/>
                    <a:pt x="4625" y="2625"/>
                    <a:pt x="4625" y="2625"/>
                  </a:cubicBezTo>
                  <a:cubicBezTo>
                    <a:pt x="4182" y="2625"/>
                    <a:pt x="4182" y="2625"/>
                    <a:pt x="4182" y="2625"/>
                  </a:cubicBezTo>
                  <a:cubicBezTo>
                    <a:pt x="4338" y="2101"/>
                    <a:pt x="4338" y="2101"/>
                    <a:pt x="4338" y="2101"/>
                  </a:cubicBezTo>
                  <a:cubicBezTo>
                    <a:pt x="4197" y="2101"/>
                    <a:pt x="4197" y="2101"/>
                    <a:pt x="4197" y="2101"/>
                  </a:cubicBezTo>
                  <a:cubicBezTo>
                    <a:pt x="3859" y="2625"/>
                    <a:pt x="3859" y="2625"/>
                    <a:pt x="3859" y="2625"/>
                  </a:cubicBezTo>
                  <a:cubicBezTo>
                    <a:pt x="3503" y="2625"/>
                    <a:pt x="3503" y="2625"/>
                    <a:pt x="3503" y="2625"/>
                  </a:cubicBezTo>
                  <a:cubicBezTo>
                    <a:pt x="3471" y="2101"/>
                    <a:pt x="3471" y="2101"/>
                    <a:pt x="3471" y="2101"/>
                  </a:cubicBezTo>
                  <a:cubicBezTo>
                    <a:pt x="3314" y="2101"/>
                    <a:pt x="3314" y="2101"/>
                    <a:pt x="3314" y="2101"/>
                  </a:cubicBezTo>
                  <a:cubicBezTo>
                    <a:pt x="3159" y="2625"/>
                    <a:pt x="3159" y="2625"/>
                    <a:pt x="3159" y="2625"/>
                  </a:cubicBezTo>
                  <a:cubicBezTo>
                    <a:pt x="2780" y="2625"/>
                    <a:pt x="2780" y="2625"/>
                    <a:pt x="2780" y="2625"/>
                  </a:cubicBezTo>
                  <a:cubicBezTo>
                    <a:pt x="2940" y="2101"/>
                    <a:pt x="2940" y="2101"/>
                    <a:pt x="2940" y="2101"/>
                  </a:cubicBezTo>
                  <a:cubicBezTo>
                    <a:pt x="2047" y="2101"/>
                    <a:pt x="2047" y="2101"/>
                    <a:pt x="2047" y="2101"/>
                  </a:cubicBezTo>
                  <a:cubicBezTo>
                    <a:pt x="2047" y="2093"/>
                    <a:pt x="2047" y="2093"/>
                    <a:pt x="2047" y="2093"/>
                  </a:cubicBezTo>
                  <a:cubicBezTo>
                    <a:pt x="1888" y="2626"/>
                    <a:pt x="1888" y="2626"/>
                    <a:pt x="1888" y="2626"/>
                  </a:cubicBezTo>
                  <a:cubicBezTo>
                    <a:pt x="1484" y="2626"/>
                    <a:pt x="1484" y="2626"/>
                    <a:pt x="1484" y="2626"/>
                  </a:cubicBezTo>
                  <a:cubicBezTo>
                    <a:pt x="1642" y="2101"/>
                    <a:pt x="1642" y="2101"/>
                    <a:pt x="1642" y="2101"/>
                  </a:cubicBezTo>
                  <a:cubicBezTo>
                    <a:pt x="1148" y="2101"/>
                    <a:pt x="1148" y="2101"/>
                    <a:pt x="1148" y="2101"/>
                  </a:cubicBezTo>
                  <a:cubicBezTo>
                    <a:pt x="1394" y="2626"/>
                    <a:pt x="1394" y="2626"/>
                    <a:pt x="1394" y="2626"/>
                  </a:cubicBezTo>
                  <a:cubicBezTo>
                    <a:pt x="927" y="2626"/>
                    <a:pt x="927" y="2626"/>
                    <a:pt x="927" y="2626"/>
                  </a:cubicBezTo>
                  <a:cubicBezTo>
                    <a:pt x="715" y="2101"/>
                    <a:pt x="715" y="2101"/>
                    <a:pt x="715" y="2101"/>
                  </a:cubicBezTo>
                  <a:cubicBezTo>
                    <a:pt x="588" y="2101"/>
                    <a:pt x="588" y="2101"/>
                    <a:pt x="588" y="2101"/>
                  </a:cubicBezTo>
                  <a:cubicBezTo>
                    <a:pt x="509" y="2359"/>
                    <a:pt x="447" y="2567"/>
                    <a:pt x="442" y="2583"/>
                  </a:cubicBezTo>
                  <a:cubicBezTo>
                    <a:pt x="434" y="2626"/>
                    <a:pt x="434" y="2626"/>
                    <a:pt x="434" y="2626"/>
                  </a:cubicBezTo>
                  <a:cubicBezTo>
                    <a:pt x="0" y="2626"/>
                    <a:pt x="0" y="2626"/>
                    <a:pt x="0" y="2626"/>
                  </a:cubicBezTo>
                  <a:cubicBezTo>
                    <a:pt x="397" y="1303"/>
                    <a:pt x="397" y="1303"/>
                    <a:pt x="397" y="1303"/>
                  </a:cubicBezTo>
                  <a:cubicBezTo>
                    <a:pt x="397" y="0"/>
                    <a:pt x="397" y="0"/>
                    <a:pt x="397" y="0"/>
                  </a:cubicBezTo>
                  <a:cubicBezTo>
                    <a:pt x="1888" y="0"/>
                    <a:pt x="1888" y="0"/>
                    <a:pt x="1888" y="0"/>
                  </a:cubicBezTo>
                  <a:cubicBezTo>
                    <a:pt x="1888" y="1287"/>
                    <a:pt x="1888" y="1287"/>
                    <a:pt x="1888" y="1287"/>
                  </a:cubicBezTo>
                  <a:cubicBezTo>
                    <a:pt x="1944" y="1098"/>
                    <a:pt x="1944" y="1098"/>
                    <a:pt x="1944" y="1098"/>
                  </a:cubicBezTo>
                  <a:cubicBezTo>
                    <a:pt x="2047" y="1098"/>
                    <a:pt x="2047" y="1098"/>
                    <a:pt x="2047" y="1098"/>
                  </a:cubicBezTo>
                  <a:cubicBezTo>
                    <a:pt x="2047" y="0"/>
                    <a:pt x="2047" y="0"/>
                    <a:pt x="2047" y="0"/>
                  </a:cubicBezTo>
                  <a:cubicBezTo>
                    <a:pt x="3534" y="0"/>
                    <a:pt x="3534" y="0"/>
                    <a:pt x="3534" y="0"/>
                  </a:cubicBezTo>
                  <a:cubicBezTo>
                    <a:pt x="3534" y="1098"/>
                    <a:pt x="3534" y="1098"/>
                    <a:pt x="3534" y="1098"/>
                  </a:cubicBezTo>
                  <a:cubicBezTo>
                    <a:pt x="3694" y="1098"/>
                    <a:pt x="3694" y="1098"/>
                    <a:pt x="3694" y="1098"/>
                  </a:cubicBezTo>
                  <a:cubicBezTo>
                    <a:pt x="3694" y="0"/>
                    <a:pt x="3694" y="0"/>
                    <a:pt x="3694" y="0"/>
                  </a:cubicBezTo>
                  <a:cubicBezTo>
                    <a:pt x="5180" y="0"/>
                    <a:pt x="5180" y="0"/>
                    <a:pt x="5180" y="0"/>
                  </a:cubicBezTo>
                  <a:cubicBezTo>
                    <a:pt x="5180" y="1388"/>
                    <a:pt x="5180" y="1388"/>
                    <a:pt x="5180" y="1388"/>
                  </a:cubicBezTo>
                  <a:cubicBezTo>
                    <a:pt x="5231" y="1319"/>
                    <a:pt x="5285" y="1264"/>
                    <a:pt x="5340" y="1222"/>
                  </a:cubicBezTo>
                  <a:cubicBezTo>
                    <a:pt x="5340" y="0"/>
                    <a:pt x="5340" y="0"/>
                    <a:pt x="5340" y="0"/>
                  </a:cubicBezTo>
                  <a:cubicBezTo>
                    <a:pt x="6827" y="0"/>
                    <a:pt x="6827" y="0"/>
                    <a:pt x="6827" y="0"/>
                  </a:cubicBezTo>
                  <a:cubicBezTo>
                    <a:pt x="6827" y="2101"/>
                    <a:pt x="6827" y="2101"/>
                    <a:pt x="6827" y="2101"/>
                  </a:cubicBezTo>
                  <a:cubicBezTo>
                    <a:pt x="6266" y="2101"/>
                    <a:pt x="6266" y="2101"/>
                    <a:pt x="6266" y="2101"/>
                  </a:cubicBezTo>
                  <a:lnTo>
                    <a:pt x="6130" y="2584"/>
                  </a:lnTo>
                  <a:close/>
                  <a:moveTo>
                    <a:pt x="5342" y="2101"/>
                  </a:moveTo>
                  <a:cubicBezTo>
                    <a:pt x="5344" y="2169"/>
                    <a:pt x="5356" y="2226"/>
                    <a:pt x="5386" y="2264"/>
                  </a:cubicBezTo>
                  <a:cubicBezTo>
                    <a:pt x="5429" y="2321"/>
                    <a:pt x="5503" y="2349"/>
                    <a:pt x="5610" y="2349"/>
                  </a:cubicBezTo>
                  <a:cubicBezTo>
                    <a:pt x="5728" y="2349"/>
                    <a:pt x="5773" y="2336"/>
                    <a:pt x="5788" y="2330"/>
                  </a:cubicBezTo>
                  <a:cubicBezTo>
                    <a:pt x="5861" y="2101"/>
                    <a:pt x="5861" y="2101"/>
                    <a:pt x="5861" y="2101"/>
                  </a:cubicBezTo>
                  <a:lnTo>
                    <a:pt x="5342" y="2101"/>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 name="Freeform 7"/>
            <p:cNvSpPr>
              <a:spLocks noEditPoints="1"/>
            </p:cNvSpPr>
            <p:nvPr userDrawn="1"/>
          </p:nvSpPr>
          <p:spPr bwMode="gray">
            <a:xfrm>
              <a:off x="294581" y="330200"/>
              <a:ext cx="650875" cy="152400"/>
            </a:xfrm>
            <a:custGeom>
              <a:avLst/>
              <a:gdLst/>
              <a:ahLst/>
              <a:cxnLst>
                <a:cxn ang="0">
                  <a:pos x="2581" y="459"/>
                </a:cxn>
                <a:cxn ang="0">
                  <a:pos x="2254" y="682"/>
                </a:cxn>
                <a:cxn ang="0">
                  <a:pos x="2000" y="681"/>
                </a:cxn>
                <a:cxn ang="0">
                  <a:pos x="2130" y="234"/>
                </a:cxn>
                <a:cxn ang="0">
                  <a:pos x="2581" y="459"/>
                </a:cxn>
                <a:cxn ang="0">
                  <a:pos x="749" y="30"/>
                </a:cxn>
                <a:cxn ang="0">
                  <a:pos x="427" y="30"/>
                </a:cxn>
                <a:cxn ang="0">
                  <a:pos x="0" y="1452"/>
                </a:cxn>
                <a:cxn ang="0">
                  <a:pos x="319" y="1452"/>
                </a:cxn>
                <a:cxn ang="0">
                  <a:pos x="749" y="30"/>
                </a:cxn>
                <a:cxn ang="0">
                  <a:pos x="1585" y="30"/>
                </a:cxn>
                <a:cxn ang="0">
                  <a:pos x="1194" y="30"/>
                </a:cxn>
                <a:cxn ang="0">
                  <a:pos x="571" y="658"/>
                </a:cxn>
                <a:cxn ang="0">
                  <a:pos x="571" y="657"/>
                </a:cxn>
                <a:cxn ang="0">
                  <a:pos x="571" y="658"/>
                </a:cxn>
                <a:cxn ang="0">
                  <a:pos x="571" y="658"/>
                </a:cxn>
                <a:cxn ang="0">
                  <a:pos x="571" y="658"/>
                </a:cxn>
                <a:cxn ang="0">
                  <a:pos x="571" y="658"/>
                </a:cxn>
                <a:cxn ang="0">
                  <a:pos x="571" y="658"/>
                </a:cxn>
                <a:cxn ang="0">
                  <a:pos x="892" y="1452"/>
                </a:cxn>
                <a:cxn ang="0">
                  <a:pos x="1239" y="1452"/>
                </a:cxn>
                <a:cxn ang="0">
                  <a:pos x="881" y="688"/>
                </a:cxn>
                <a:cxn ang="0">
                  <a:pos x="1585" y="30"/>
                </a:cxn>
                <a:cxn ang="0">
                  <a:pos x="2875" y="459"/>
                </a:cxn>
                <a:cxn ang="0">
                  <a:pos x="2275" y="30"/>
                </a:cxn>
                <a:cxn ang="0">
                  <a:pos x="1913" y="30"/>
                </a:cxn>
                <a:cxn ang="0">
                  <a:pos x="1484" y="1452"/>
                </a:cxn>
                <a:cxn ang="0">
                  <a:pos x="1777" y="1452"/>
                </a:cxn>
                <a:cxn ang="0">
                  <a:pos x="1945" y="890"/>
                </a:cxn>
                <a:cxn ang="0">
                  <a:pos x="2179" y="890"/>
                </a:cxn>
                <a:cxn ang="0">
                  <a:pos x="2875" y="459"/>
                </a:cxn>
                <a:cxn ang="0">
                  <a:pos x="4866" y="30"/>
                </a:cxn>
                <a:cxn ang="0">
                  <a:pos x="4400" y="30"/>
                </a:cxn>
                <a:cxn ang="0">
                  <a:pos x="3694" y="1259"/>
                </a:cxn>
                <a:cxn ang="0">
                  <a:pos x="3678" y="30"/>
                </a:cxn>
                <a:cxn ang="0">
                  <a:pos x="3216" y="30"/>
                </a:cxn>
                <a:cxn ang="0">
                  <a:pos x="2781" y="1451"/>
                </a:cxn>
                <a:cxn ang="0">
                  <a:pos x="3048" y="1451"/>
                </a:cxn>
                <a:cxn ang="0">
                  <a:pos x="3408" y="234"/>
                </a:cxn>
                <a:cxn ang="0">
                  <a:pos x="3482" y="1451"/>
                </a:cxn>
                <a:cxn ang="0">
                  <a:pos x="3758" y="1451"/>
                </a:cxn>
                <a:cxn ang="0">
                  <a:pos x="4544" y="234"/>
                </a:cxn>
                <a:cxn ang="0">
                  <a:pos x="4183" y="1451"/>
                </a:cxn>
                <a:cxn ang="0">
                  <a:pos x="4512" y="1451"/>
                </a:cxn>
                <a:cxn ang="0">
                  <a:pos x="4866" y="30"/>
                </a:cxn>
                <a:cxn ang="0">
                  <a:pos x="5792" y="0"/>
                </a:cxn>
                <a:cxn ang="0">
                  <a:pos x="4947" y="735"/>
                </a:cxn>
                <a:cxn ang="0">
                  <a:pos x="5478" y="1487"/>
                </a:cxn>
                <a:cxn ang="0">
                  <a:pos x="6015" y="1424"/>
                </a:cxn>
                <a:cxn ang="0">
                  <a:pos x="6217" y="706"/>
                </a:cxn>
                <a:cxn ang="0">
                  <a:pos x="5614" y="706"/>
                </a:cxn>
                <a:cxn ang="0">
                  <a:pos x="5547" y="920"/>
                </a:cxn>
                <a:cxn ang="0">
                  <a:pos x="5865" y="920"/>
                </a:cxn>
                <a:cxn ang="0">
                  <a:pos x="5766" y="1232"/>
                </a:cxn>
                <a:cxn ang="0">
                  <a:pos x="5540" y="1282"/>
                </a:cxn>
                <a:cxn ang="0">
                  <a:pos x="5254" y="727"/>
                </a:cxn>
                <a:cxn ang="0">
                  <a:pos x="5764" y="205"/>
                </a:cxn>
                <a:cxn ang="0">
                  <a:pos x="6001" y="451"/>
                </a:cxn>
                <a:cxn ang="0">
                  <a:pos x="5991" y="487"/>
                </a:cxn>
                <a:cxn ang="0">
                  <a:pos x="6284" y="487"/>
                </a:cxn>
                <a:cxn ang="0">
                  <a:pos x="5792" y="0"/>
                </a:cxn>
              </a:cxnLst>
              <a:rect l="0" t="0" r="r" b="b"/>
              <a:pathLst>
                <a:path w="6358" h="1487">
                  <a:moveTo>
                    <a:pt x="2581" y="459"/>
                  </a:moveTo>
                  <a:cubicBezTo>
                    <a:pt x="2533" y="604"/>
                    <a:pt x="2468" y="678"/>
                    <a:pt x="2254" y="682"/>
                  </a:cubicBezTo>
                  <a:cubicBezTo>
                    <a:pt x="2183" y="683"/>
                    <a:pt x="2106" y="681"/>
                    <a:pt x="2000" y="681"/>
                  </a:cubicBezTo>
                  <a:cubicBezTo>
                    <a:pt x="2130" y="234"/>
                    <a:pt x="2130" y="234"/>
                    <a:pt x="2130" y="234"/>
                  </a:cubicBezTo>
                  <a:cubicBezTo>
                    <a:pt x="2451" y="234"/>
                    <a:pt x="2665" y="208"/>
                    <a:pt x="2581" y="459"/>
                  </a:cubicBezTo>
                  <a:moveTo>
                    <a:pt x="749" y="30"/>
                  </a:moveTo>
                  <a:cubicBezTo>
                    <a:pt x="427" y="30"/>
                    <a:pt x="427" y="30"/>
                    <a:pt x="427" y="30"/>
                  </a:cubicBezTo>
                  <a:cubicBezTo>
                    <a:pt x="0" y="1452"/>
                    <a:pt x="0" y="1452"/>
                    <a:pt x="0" y="1452"/>
                  </a:cubicBezTo>
                  <a:cubicBezTo>
                    <a:pt x="319" y="1452"/>
                    <a:pt x="319" y="1452"/>
                    <a:pt x="319" y="1452"/>
                  </a:cubicBezTo>
                  <a:cubicBezTo>
                    <a:pt x="325" y="1422"/>
                    <a:pt x="749" y="30"/>
                    <a:pt x="749" y="30"/>
                  </a:cubicBezTo>
                  <a:moveTo>
                    <a:pt x="1585" y="30"/>
                  </a:moveTo>
                  <a:cubicBezTo>
                    <a:pt x="1194" y="30"/>
                    <a:pt x="1194" y="30"/>
                    <a:pt x="1194" y="30"/>
                  </a:cubicBezTo>
                  <a:cubicBezTo>
                    <a:pt x="571" y="658"/>
                    <a:pt x="571" y="658"/>
                    <a:pt x="571" y="658"/>
                  </a:cubicBezTo>
                  <a:cubicBezTo>
                    <a:pt x="571" y="657"/>
                    <a:pt x="571" y="657"/>
                    <a:pt x="571" y="657"/>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892" y="1452"/>
                    <a:pt x="892" y="1452"/>
                    <a:pt x="892" y="1452"/>
                  </a:cubicBezTo>
                  <a:cubicBezTo>
                    <a:pt x="1239" y="1452"/>
                    <a:pt x="1239" y="1452"/>
                    <a:pt x="1239" y="1452"/>
                  </a:cubicBezTo>
                  <a:cubicBezTo>
                    <a:pt x="881" y="688"/>
                    <a:pt x="881" y="688"/>
                    <a:pt x="881" y="688"/>
                  </a:cubicBezTo>
                  <a:lnTo>
                    <a:pt x="1585" y="30"/>
                  </a:lnTo>
                  <a:close/>
                  <a:moveTo>
                    <a:pt x="2875" y="459"/>
                  </a:moveTo>
                  <a:cubicBezTo>
                    <a:pt x="2956" y="21"/>
                    <a:pt x="2603" y="26"/>
                    <a:pt x="2275" y="30"/>
                  </a:cubicBezTo>
                  <a:cubicBezTo>
                    <a:pt x="1913" y="30"/>
                    <a:pt x="1913" y="30"/>
                    <a:pt x="1913" y="30"/>
                  </a:cubicBezTo>
                  <a:cubicBezTo>
                    <a:pt x="1484" y="1452"/>
                    <a:pt x="1484" y="1452"/>
                    <a:pt x="1484" y="1452"/>
                  </a:cubicBezTo>
                  <a:cubicBezTo>
                    <a:pt x="1777" y="1452"/>
                    <a:pt x="1777" y="1452"/>
                    <a:pt x="1777" y="1452"/>
                  </a:cubicBezTo>
                  <a:cubicBezTo>
                    <a:pt x="1945" y="890"/>
                    <a:pt x="1945" y="890"/>
                    <a:pt x="1945" y="890"/>
                  </a:cubicBezTo>
                  <a:cubicBezTo>
                    <a:pt x="2179" y="890"/>
                    <a:pt x="2179" y="890"/>
                    <a:pt x="2179" y="890"/>
                  </a:cubicBezTo>
                  <a:cubicBezTo>
                    <a:pt x="2633" y="890"/>
                    <a:pt x="2833" y="689"/>
                    <a:pt x="2875" y="459"/>
                  </a:cubicBezTo>
                  <a:moveTo>
                    <a:pt x="4866" y="30"/>
                  </a:moveTo>
                  <a:cubicBezTo>
                    <a:pt x="4400" y="30"/>
                    <a:pt x="4400" y="30"/>
                    <a:pt x="4400" y="30"/>
                  </a:cubicBezTo>
                  <a:cubicBezTo>
                    <a:pt x="3832" y="817"/>
                    <a:pt x="3694" y="1259"/>
                    <a:pt x="3694" y="1259"/>
                  </a:cubicBezTo>
                  <a:cubicBezTo>
                    <a:pt x="3749" y="759"/>
                    <a:pt x="3678" y="30"/>
                    <a:pt x="3678" y="30"/>
                  </a:cubicBezTo>
                  <a:cubicBezTo>
                    <a:pt x="3216" y="30"/>
                    <a:pt x="3216" y="30"/>
                    <a:pt x="3216" y="30"/>
                  </a:cubicBezTo>
                  <a:cubicBezTo>
                    <a:pt x="2781" y="1451"/>
                    <a:pt x="2781" y="1451"/>
                    <a:pt x="2781" y="1451"/>
                  </a:cubicBezTo>
                  <a:cubicBezTo>
                    <a:pt x="3048" y="1451"/>
                    <a:pt x="3048" y="1451"/>
                    <a:pt x="3048" y="1451"/>
                  </a:cubicBezTo>
                  <a:cubicBezTo>
                    <a:pt x="3408" y="234"/>
                    <a:pt x="3408" y="234"/>
                    <a:pt x="3408" y="234"/>
                  </a:cubicBezTo>
                  <a:cubicBezTo>
                    <a:pt x="3482" y="1451"/>
                    <a:pt x="3482" y="1451"/>
                    <a:pt x="3482" y="1451"/>
                  </a:cubicBezTo>
                  <a:cubicBezTo>
                    <a:pt x="3758" y="1451"/>
                    <a:pt x="3758" y="1451"/>
                    <a:pt x="3758" y="1451"/>
                  </a:cubicBezTo>
                  <a:cubicBezTo>
                    <a:pt x="4544" y="234"/>
                    <a:pt x="4544" y="234"/>
                    <a:pt x="4544" y="234"/>
                  </a:cubicBezTo>
                  <a:cubicBezTo>
                    <a:pt x="4183" y="1451"/>
                    <a:pt x="4183" y="1451"/>
                    <a:pt x="4183" y="1451"/>
                  </a:cubicBezTo>
                  <a:cubicBezTo>
                    <a:pt x="4512" y="1451"/>
                    <a:pt x="4512" y="1451"/>
                    <a:pt x="4512" y="1451"/>
                  </a:cubicBezTo>
                  <a:lnTo>
                    <a:pt x="4866" y="30"/>
                  </a:lnTo>
                  <a:close/>
                  <a:moveTo>
                    <a:pt x="5792" y="0"/>
                  </a:moveTo>
                  <a:cubicBezTo>
                    <a:pt x="5506" y="0"/>
                    <a:pt x="5151" y="64"/>
                    <a:pt x="4947" y="735"/>
                  </a:cubicBezTo>
                  <a:cubicBezTo>
                    <a:pt x="4777" y="1296"/>
                    <a:pt x="5191" y="1487"/>
                    <a:pt x="5478" y="1487"/>
                  </a:cubicBezTo>
                  <a:cubicBezTo>
                    <a:pt x="5667" y="1487"/>
                    <a:pt x="5935" y="1455"/>
                    <a:pt x="6015" y="1424"/>
                  </a:cubicBezTo>
                  <a:cubicBezTo>
                    <a:pt x="6217" y="706"/>
                    <a:pt x="6217" y="706"/>
                    <a:pt x="6217" y="706"/>
                  </a:cubicBezTo>
                  <a:cubicBezTo>
                    <a:pt x="5614" y="706"/>
                    <a:pt x="5614" y="706"/>
                    <a:pt x="5614" y="706"/>
                  </a:cubicBezTo>
                  <a:cubicBezTo>
                    <a:pt x="5547" y="920"/>
                    <a:pt x="5547" y="920"/>
                    <a:pt x="5547" y="920"/>
                  </a:cubicBezTo>
                  <a:cubicBezTo>
                    <a:pt x="5865" y="920"/>
                    <a:pt x="5865" y="920"/>
                    <a:pt x="5865" y="920"/>
                  </a:cubicBezTo>
                  <a:cubicBezTo>
                    <a:pt x="5766" y="1232"/>
                    <a:pt x="5766" y="1232"/>
                    <a:pt x="5766" y="1232"/>
                  </a:cubicBezTo>
                  <a:cubicBezTo>
                    <a:pt x="5766" y="1232"/>
                    <a:pt x="5779" y="1281"/>
                    <a:pt x="5540" y="1282"/>
                  </a:cubicBezTo>
                  <a:cubicBezTo>
                    <a:pt x="5238" y="1283"/>
                    <a:pt x="5155" y="1072"/>
                    <a:pt x="5254" y="727"/>
                  </a:cubicBezTo>
                  <a:cubicBezTo>
                    <a:pt x="5346" y="407"/>
                    <a:pt x="5493" y="192"/>
                    <a:pt x="5764" y="205"/>
                  </a:cubicBezTo>
                  <a:cubicBezTo>
                    <a:pt x="5947" y="214"/>
                    <a:pt x="6052" y="282"/>
                    <a:pt x="6001" y="451"/>
                  </a:cubicBezTo>
                  <a:cubicBezTo>
                    <a:pt x="5998" y="463"/>
                    <a:pt x="5996" y="477"/>
                    <a:pt x="5991" y="487"/>
                  </a:cubicBezTo>
                  <a:cubicBezTo>
                    <a:pt x="6284" y="487"/>
                    <a:pt x="6284" y="487"/>
                    <a:pt x="6284" y="487"/>
                  </a:cubicBezTo>
                  <a:cubicBezTo>
                    <a:pt x="6358" y="270"/>
                    <a:pt x="6210" y="0"/>
                    <a:pt x="5792"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 name="Freeform 8"/>
            <p:cNvSpPr>
              <a:spLocks noEditPoints="1"/>
            </p:cNvSpPr>
            <p:nvPr userDrawn="1"/>
          </p:nvSpPr>
          <p:spPr bwMode="gray">
            <a:xfrm>
              <a:off x="175518" y="0"/>
              <a:ext cx="963613" cy="695325"/>
            </a:xfrm>
            <a:custGeom>
              <a:avLst/>
              <a:gdLst/>
              <a:ahLst/>
              <a:cxnLst>
                <a:cxn ang="0">
                  <a:pos x="607" y="136"/>
                </a:cxn>
                <a:cxn ang="0">
                  <a:pos x="511" y="136"/>
                </a:cxn>
                <a:cxn ang="0">
                  <a:pos x="511" y="0"/>
                </a:cxn>
                <a:cxn ang="0">
                  <a:pos x="607" y="0"/>
                </a:cxn>
                <a:cxn ang="0">
                  <a:pos x="607" y="136"/>
                </a:cxn>
                <a:cxn ang="0">
                  <a:pos x="607" y="302"/>
                </a:cxn>
                <a:cxn ang="0">
                  <a:pos x="511" y="302"/>
                </a:cxn>
                <a:cxn ang="0">
                  <a:pos x="511" y="438"/>
                </a:cxn>
                <a:cxn ang="0">
                  <a:pos x="607" y="438"/>
                </a:cxn>
                <a:cxn ang="0">
                  <a:pos x="607" y="302"/>
                </a:cxn>
                <a:cxn ang="0">
                  <a:pos x="96" y="0"/>
                </a:cxn>
                <a:cxn ang="0">
                  <a:pos x="0" y="0"/>
                </a:cxn>
                <a:cxn ang="0">
                  <a:pos x="0" y="136"/>
                </a:cxn>
                <a:cxn ang="0">
                  <a:pos x="96" y="136"/>
                </a:cxn>
                <a:cxn ang="0">
                  <a:pos x="96" y="0"/>
                </a:cxn>
                <a:cxn ang="0">
                  <a:pos x="96" y="302"/>
                </a:cxn>
                <a:cxn ang="0">
                  <a:pos x="0" y="302"/>
                </a:cxn>
                <a:cxn ang="0">
                  <a:pos x="0" y="438"/>
                </a:cxn>
                <a:cxn ang="0">
                  <a:pos x="96" y="438"/>
                </a:cxn>
                <a:cxn ang="0">
                  <a:pos x="96" y="302"/>
                </a:cxn>
              </a:cxnLst>
              <a:rect l="0" t="0" r="r" b="b"/>
              <a:pathLst>
                <a:path w="607" h="438">
                  <a:moveTo>
                    <a:pt x="607" y="136"/>
                  </a:moveTo>
                  <a:lnTo>
                    <a:pt x="511" y="136"/>
                  </a:lnTo>
                  <a:lnTo>
                    <a:pt x="511" y="0"/>
                  </a:lnTo>
                  <a:lnTo>
                    <a:pt x="607" y="0"/>
                  </a:lnTo>
                  <a:lnTo>
                    <a:pt x="607" y="136"/>
                  </a:lnTo>
                  <a:close/>
                  <a:moveTo>
                    <a:pt x="607" y="302"/>
                  </a:moveTo>
                  <a:lnTo>
                    <a:pt x="511" y="302"/>
                  </a:lnTo>
                  <a:lnTo>
                    <a:pt x="511" y="438"/>
                  </a:lnTo>
                  <a:lnTo>
                    <a:pt x="607" y="438"/>
                  </a:lnTo>
                  <a:lnTo>
                    <a:pt x="607" y="302"/>
                  </a:lnTo>
                  <a:close/>
                  <a:moveTo>
                    <a:pt x="96" y="0"/>
                  </a:moveTo>
                  <a:lnTo>
                    <a:pt x="0" y="0"/>
                  </a:lnTo>
                  <a:lnTo>
                    <a:pt x="0" y="136"/>
                  </a:lnTo>
                  <a:lnTo>
                    <a:pt x="96" y="136"/>
                  </a:lnTo>
                  <a:lnTo>
                    <a:pt x="96" y="0"/>
                  </a:lnTo>
                  <a:close/>
                  <a:moveTo>
                    <a:pt x="96" y="302"/>
                  </a:moveTo>
                  <a:lnTo>
                    <a:pt x="0" y="302"/>
                  </a:lnTo>
                  <a:lnTo>
                    <a:pt x="0" y="438"/>
                  </a:lnTo>
                  <a:lnTo>
                    <a:pt x="96" y="438"/>
                  </a:lnTo>
                  <a:lnTo>
                    <a:pt x="96" y="302"/>
                  </a:lnTo>
                  <a:close/>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pic>
        <p:nvPicPr>
          <p:cNvPr id="32" name="Picture 2" descr="V:\Verschiedenes\2012\brainnet\BrainNet_Logo2002095.emf"/>
          <p:cNvPicPr>
            <a:picLocks noChangeAspect="1" noChangeArrowheads="1"/>
          </p:cNvPicPr>
          <p:nvPr userDrawn="1"/>
        </p:nvPicPr>
        <p:blipFill>
          <a:blip r:embed="rId2" cstate="print"/>
          <a:srcRect/>
          <a:stretch>
            <a:fillRect/>
          </a:stretch>
        </p:blipFill>
        <p:spPr bwMode="auto">
          <a:xfrm>
            <a:off x="3800872" y="188640"/>
            <a:ext cx="1029366" cy="324000"/>
          </a:xfrm>
          <a:prstGeom prst="rect">
            <a:avLst/>
          </a:prstGeom>
          <a:noFill/>
        </p:spPr>
      </p:pic>
      <p:sp>
        <p:nvSpPr>
          <p:cNvPr id="13" name="Text Placeholder 4"/>
          <p:cNvSpPr>
            <a:spLocks noGrp="1"/>
          </p:cNvSpPr>
          <p:nvPr>
            <p:ph type="body" sz="quarter" idx="15" hasCustomPrompt="1"/>
          </p:nvPr>
        </p:nvSpPr>
        <p:spPr bwMode="gray">
          <a:xfrm>
            <a:off x="2649538" y="6421438"/>
            <a:ext cx="2232025" cy="175914"/>
          </a:xfrm>
          <a:prstGeom prst="rect">
            <a:avLst/>
          </a:prstGeom>
        </p:spPr>
        <p:txBody>
          <a:bodyPr>
            <a:noAutofit/>
          </a:bodyPr>
          <a:lstStyle>
            <a:lvl1pPr>
              <a:lnSpc>
                <a:spcPct val="100000"/>
              </a:lnSpc>
              <a:spcBef>
                <a:spcPts val="0"/>
              </a:spcBef>
              <a:buNone/>
              <a:defRPr sz="400" b="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noProof="0" dirty="0" smtClean="0"/>
              <a:t>Footer</a:t>
            </a:r>
            <a:endParaRPr lang="en-US" noProof="0" dirty="0"/>
          </a:p>
        </p:txBody>
      </p:sp>
      <p:sp>
        <p:nvSpPr>
          <p:cNvPr id="14" name="Text Placeholder 4"/>
          <p:cNvSpPr>
            <a:spLocks noGrp="1"/>
          </p:cNvSpPr>
          <p:nvPr>
            <p:ph type="body" sz="quarter" idx="14" hasCustomPrompt="1"/>
          </p:nvPr>
        </p:nvSpPr>
        <p:spPr bwMode="gray">
          <a:xfrm>
            <a:off x="258762" y="6421438"/>
            <a:ext cx="2247181" cy="175914"/>
          </a:xfrm>
          <a:prstGeom prst="rect">
            <a:avLst/>
          </a:prstGeom>
        </p:spPr>
        <p:txBody>
          <a:bodyPr>
            <a:noAutofit/>
          </a:bodyPr>
          <a:lstStyle>
            <a:lvl1pPr>
              <a:lnSpc>
                <a:spcPct val="100000"/>
              </a:lnSpc>
              <a:spcBef>
                <a:spcPts val="0"/>
              </a:spcBef>
              <a:buNone/>
              <a:defRPr sz="400" b="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noProof="0" dirty="0" smtClean="0"/>
              <a:t>Footer</a:t>
            </a:r>
            <a:endParaRPr lang="en-US" noProof="0" dirty="0"/>
          </a:p>
        </p:txBody>
      </p:sp>
      <p:sp>
        <p:nvSpPr>
          <p:cNvPr id="15" name="Text Placeholder 4"/>
          <p:cNvSpPr>
            <a:spLocks noGrp="1"/>
          </p:cNvSpPr>
          <p:nvPr>
            <p:ph type="body" sz="quarter" idx="13" hasCustomPrompt="1"/>
          </p:nvPr>
        </p:nvSpPr>
        <p:spPr bwMode="gray">
          <a:xfrm>
            <a:off x="1640631" y="662981"/>
            <a:ext cx="1368153" cy="504056"/>
          </a:xfrm>
          <a:prstGeom prst="rect">
            <a:avLst/>
          </a:prstGeom>
        </p:spPr>
        <p:txBody>
          <a:bodyPr>
            <a:noAutofit/>
          </a:bodyPr>
          <a:lstStyle>
            <a:lvl1pPr>
              <a:lnSpc>
                <a:spcPct val="100000"/>
              </a:lnSpc>
              <a:spcBef>
                <a:spcPts val="0"/>
              </a:spcBef>
              <a:buNone/>
              <a:defRPr sz="70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noProof="0" dirty="0" smtClean="0"/>
              <a:t>KPMG Tel</a:t>
            </a:r>
            <a:endParaRPr lang="en-US" noProof="0" dirty="0"/>
          </a:p>
        </p:txBody>
      </p:sp>
      <p:sp>
        <p:nvSpPr>
          <p:cNvPr id="16" name="Text Placeholder 4"/>
          <p:cNvSpPr>
            <a:spLocks noGrp="1"/>
          </p:cNvSpPr>
          <p:nvPr>
            <p:ph type="body" sz="quarter" idx="12" hasCustomPrompt="1"/>
          </p:nvPr>
        </p:nvSpPr>
        <p:spPr bwMode="gray">
          <a:xfrm>
            <a:off x="272480" y="662981"/>
            <a:ext cx="1368153" cy="504056"/>
          </a:xfrm>
          <a:prstGeom prst="rect">
            <a:avLst/>
          </a:prstGeom>
        </p:spPr>
        <p:txBody>
          <a:bodyPr>
            <a:noAutofit/>
          </a:bodyPr>
          <a:lstStyle>
            <a:lvl1pPr>
              <a:lnSpc>
                <a:spcPct val="100000"/>
              </a:lnSpc>
              <a:spcBef>
                <a:spcPts val="0"/>
              </a:spcBef>
              <a:buNone/>
              <a:defRPr sz="700">
                <a:solidFill>
                  <a:schemeClr val="tx1"/>
                </a:solidFill>
                <a:latin typeface="+mn-lt"/>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en-US" noProof="0" dirty="0" smtClean="0"/>
              <a:t>KPMG address</a:t>
            </a:r>
            <a:endParaRPr lang="en-US" noProof="0" dirty="0"/>
          </a:p>
        </p:txBody>
      </p:sp>
      <p:sp>
        <p:nvSpPr>
          <p:cNvPr id="17" name="Text Placeholder 4"/>
          <p:cNvSpPr>
            <a:spLocks noGrp="1"/>
          </p:cNvSpPr>
          <p:nvPr>
            <p:ph type="body" sz="quarter" idx="16"/>
          </p:nvPr>
        </p:nvSpPr>
        <p:spPr bwMode="gray">
          <a:xfrm>
            <a:off x="5029995" y="1269454"/>
            <a:ext cx="4604544" cy="4896396"/>
          </a:xfrm>
          <a:prstGeom prst="rect">
            <a:avLst/>
          </a:prstGeom>
        </p:spPr>
        <p:txBody>
          <a:bodyPr vert="horz" lIns="0" tIns="0" rIns="0" bIns="0" rtlCol="0">
            <a:noAutofit/>
          </a:bodyPr>
          <a:lstStyle>
            <a:lvl1pPr algn="l" defTabSz="914400" rtl="0" eaLnBrk="1" latinLnBrk="0" hangingPunct="1">
              <a:lnSpc>
                <a:spcPct val="100000"/>
              </a:lnSpc>
              <a:spcBef>
                <a:spcPts val="600"/>
              </a:spcBef>
              <a:buFont typeface="Arial" pitchFamily="34" charset="0"/>
              <a:buNone/>
              <a:defRPr lang="de-DE" sz="1000" b="1" kern="1200" noProof="0" smtClean="0">
                <a:solidFill>
                  <a:schemeClr val="tx1"/>
                </a:solidFill>
                <a:latin typeface="Times New Roman" pitchFamily="18" charset="0"/>
                <a:ea typeface="+mn-ea"/>
                <a:cs typeface="Times New Roman" pitchFamily="18" charset="0"/>
              </a:defRPr>
            </a:lvl1pPr>
            <a:lvl2pPr algn="l" defTabSz="914400" rtl="0" eaLnBrk="1" latinLnBrk="0" hangingPunct="1">
              <a:lnSpc>
                <a:spcPct val="100000"/>
              </a:lnSpc>
              <a:spcBef>
                <a:spcPts val="600"/>
              </a:spcBef>
              <a:buFont typeface="Arial" pitchFamily="34" charset="0"/>
              <a:defRPr lang="de-DE" sz="1000" b="0" kern="1200" noProof="0" smtClean="0">
                <a:solidFill>
                  <a:schemeClr val="tx1"/>
                </a:solidFill>
                <a:latin typeface="Times New Roman" pitchFamily="18" charset="0"/>
                <a:ea typeface="+mn-ea"/>
                <a:cs typeface="Times New Roman" pitchFamily="18" charset="0"/>
              </a:defRPr>
            </a:lvl2pPr>
            <a:lvl3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3pPr>
            <a:lvl4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4pPr>
            <a:lvl5pPr algn="l" defTabSz="914400" rtl="0" eaLnBrk="1" latinLnBrk="0" hangingPunct="1">
              <a:lnSpc>
                <a:spcPct val="100000"/>
              </a:lnSpc>
              <a:spcBef>
                <a:spcPts val="600"/>
              </a:spcBef>
              <a:buClrTx/>
              <a:buFont typeface="Arial" pitchFamily="34" charset="0"/>
              <a:defRPr lang="de-DE" sz="1000" b="0" kern="1200" noProof="0" dirty="0">
                <a:solidFill>
                  <a:schemeClr val="tx1"/>
                </a:solidFill>
                <a:latin typeface="Times New Roman" pitchFamily="18" charset="0"/>
                <a:ea typeface="+mn-ea"/>
                <a:cs typeface="Times New Roman" pitchFamily="18" charset="0"/>
              </a:defRPr>
            </a:lvl5pPr>
            <a:lvl6pPr>
              <a:buClrTx/>
              <a:defRPr sz="1000" baseline="0">
                <a:solidFill>
                  <a:schemeClr val="tx1"/>
                </a:solidFill>
                <a:latin typeface="Times New Roman" pitchFamily="18" charset="0"/>
                <a:cs typeface="Times New Roman" pitchFamily="18" charset="0"/>
              </a:defRPr>
            </a:lvl6pPr>
            <a:lvl7pPr>
              <a:buClrTx/>
              <a:defRPr sz="1000" baseline="0">
                <a:solidFill>
                  <a:schemeClr val="tx1"/>
                </a:solidFill>
                <a:latin typeface="Times New Roman" pitchFamily="18" charset="0"/>
                <a:cs typeface="Times New Roman" pitchFamily="18" charset="0"/>
              </a:defRPr>
            </a:lvl7pPr>
            <a:lvl8pPr>
              <a:buClrTx/>
              <a:defRPr sz="1000" baseline="0">
                <a:solidFill>
                  <a:schemeClr val="tx1"/>
                </a:solidFill>
                <a:latin typeface="Times New Roman" pitchFamily="18" charset="0"/>
                <a:cs typeface="Times New Roman" pitchFamily="18" charset="0"/>
              </a:defRPr>
            </a:lvl8pPr>
            <a:lvl9pPr>
              <a:buClrTx/>
              <a:defRPr sz="1000" baseline="0">
                <a:solidFill>
                  <a:schemeClr val="tx1"/>
                </a:solidFill>
                <a:latin typeface="Times New Roman" pitchFamily="18" charset="0"/>
                <a:cs typeface="Times New Roman" pitchFamily="18"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2">
    <p:spTree>
      <p:nvGrpSpPr>
        <p:cNvPr id="1" name=""/>
        <p:cNvGrpSpPr/>
        <p:nvPr/>
      </p:nvGrpSpPr>
      <p:grpSpPr>
        <a:xfrm>
          <a:off x="0" y="0"/>
          <a:ext cx="0" cy="0"/>
          <a:chOff x="0" y="0"/>
          <a:chExt cx="0" cy="0"/>
        </a:xfrm>
      </p:grpSpPr>
      <p:sp>
        <p:nvSpPr>
          <p:cNvPr id="16" name="Text Placeholder 4"/>
          <p:cNvSpPr>
            <a:spLocks noGrp="1"/>
          </p:cNvSpPr>
          <p:nvPr>
            <p:ph type="body" sz="quarter" idx="12"/>
          </p:nvPr>
        </p:nvSpPr>
        <p:spPr bwMode="gray">
          <a:xfrm>
            <a:off x="5025008" y="692696"/>
            <a:ext cx="4608511" cy="504254"/>
          </a:xfrm>
          <a:prstGeom prst="rect">
            <a:avLst/>
          </a:prstGeom>
        </p:spPr>
        <p:txBody>
          <a:bodyPr vert="horz" lIns="0" tIns="0" rIns="0" bIns="0" rtlCol="0">
            <a:noAutofit/>
          </a:bodyPr>
          <a:lstStyle>
            <a:lvl1pPr algn="r">
              <a:defRPr lang="de-DE" sz="1200" b="0" i="1" kern="1200" noProof="0" smtClean="0">
                <a:solidFill>
                  <a:schemeClr val="tx1"/>
                </a:solidFill>
                <a:latin typeface="Times New Roman" pitchFamily="18" charset="0"/>
                <a:ea typeface="+mn-ea"/>
                <a:cs typeface="Times New Roman" pitchFamily="18" charset="0"/>
              </a:defRPr>
            </a:lvl1pPr>
            <a:lvl2pPr algn="r">
              <a:defRPr b="0" i="1">
                <a:solidFill>
                  <a:schemeClr val="tx1"/>
                </a:solidFill>
                <a:latin typeface="Times New Roman" pitchFamily="18" charset="0"/>
                <a:cs typeface="Times New Roman" pitchFamily="18" charset="0"/>
              </a:defRPr>
            </a:lvl2pPr>
            <a:lvl3pPr algn="r">
              <a:buClrTx/>
              <a:defRPr b="0" i="1">
                <a:solidFill>
                  <a:schemeClr val="tx1"/>
                </a:solidFill>
                <a:latin typeface="Times New Roman" pitchFamily="18" charset="0"/>
                <a:cs typeface="Times New Roman" pitchFamily="18" charset="0"/>
              </a:defRPr>
            </a:lvl3pPr>
            <a:lvl4pPr algn="r">
              <a:buClrTx/>
              <a:defRPr b="0" i="1">
                <a:solidFill>
                  <a:schemeClr val="tx1"/>
                </a:solidFill>
                <a:latin typeface="Times New Roman" pitchFamily="18" charset="0"/>
                <a:cs typeface="Times New Roman" pitchFamily="18" charset="0"/>
              </a:defRPr>
            </a:lvl4pPr>
            <a:lvl5pPr algn="r">
              <a:buClrTx/>
              <a:defRPr b="0" i="1">
                <a:solidFill>
                  <a:schemeClr val="tx1"/>
                </a:solidFill>
                <a:latin typeface="Times New Roman" pitchFamily="18" charset="0"/>
                <a:cs typeface="Times New Roman" pitchFamily="18" charset="0"/>
              </a:defRPr>
            </a:lvl5pPr>
            <a:lvl6pPr algn="r">
              <a:buClrTx/>
              <a:defRPr b="0" i="1" baseline="0">
                <a:solidFill>
                  <a:schemeClr val="tx1"/>
                </a:solidFill>
                <a:latin typeface="Times New Roman" pitchFamily="18" charset="0"/>
                <a:cs typeface="Times New Roman" pitchFamily="18" charset="0"/>
              </a:defRPr>
            </a:lvl6pPr>
            <a:lvl7pPr algn="r">
              <a:buClrTx/>
              <a:defRPr b="0" i="1" baseline="0">
                <a:solidFill>
                  <a:schemeClr val="tx1"/>
                </a:solidFill>
                <a:latin typeface="Times New Roman" pitchFamily="18" charset="0"/>
                <a:cs typeface="Times New Roman" pitchFamily="18" charset="0"/>
              </a:defRPr>
            </a:lvl7pPr>
            <a:lvl8pPr algn="r">
              <a:buClrTx/>
              <a:defRPr b="0" i="1" baseline="0">
                <a:solidFill>
                  <a:schemeClr val="tx1"/>
                </a:solidFill>
                <a:latin typeface="Times New Roman" pitchFamily="18" charset="0"/>
                <a:cs typeface="Times New Roman" pitchFamily="18" charset="0"/>
              </a:defRPr>
            </a:lvl8pPr>
            <a:lvl9pPr algn="r">
              <a:buClrTx/>
              <a:defRPr b="0" i="1" baseline="0">
                <a:solidFill>
                  <a:schemeClr val="tx1"/>
                </a:solidFill>
                <a:latin typeface="Times New Roman" pitchFamily="18" charset="0"/>
                <a:cs typeface="Times New Roman" pitchFamily="18" charset="0"/>
              </a:defRPr>
            </a:lvl9pPr>
          </a:lstStyle>
          <a:p>
            <a:pPr marL="0" lvl="0" indent="0" algn="r" defTabSz="914400" rtl="0" eaLnBrk="1" latinLnBrk="0" hangingPunct="1">
              <a:lnSpc>
                <a:spcPct val="100000"/>
              </a:lnSpc>
              <a:spcBef>
                <a:spcPts val="600"/>
              </a:spcBef>
              <a:buFont typeface="Arial" pitchFamily="34" charset="0"/>
              <a:buNone/>
            </a:pPr>
            <a:r>
              <a:rPr lang="en-US" smtClean="0"/>
              <a:t>Click to edit Master text styles</a:t>
            </a:r>
          </a:p>
        </p:txBody>
      </p:sp>
      <p:grpSp>
        <p:nvGrpSpPr>
          <p:cNvPr id="17" name="Group 16"/>
          <p:cNvGrpSpPr/>
          <p:nvPr userDrawn="1"/>
        </p:nvGrpSpPr>
        <p:grpSpPr bwMode="gray">
          <a:xfrm>
            <a:off x="175519" y="1"/>
            <a:ext cx="963613" cy="695325"/>
            <a:chOff x="175518" y="0"/>
            <a:chExt cx="963613" cy="695325"/>
          </a:xfrm>
        </p:grpSpPr>
        <p:sp>
          <p:nvSpPr>
            <p:cNvPr id="19" name="Freeform 6"/>
            <p:cNvSpPr>
              <a:spLocks noEditPoints="1"/>
            </p:cNvSpPr>
            <p:nvPr userDrawn="1"/>
          </p:nvSpPr>
          <p:spPr bwMode="gray">
            <a:xfrm>
              <a:off x="286643" y="215900"/>
              <a:ext cx="700088" cy="271463"/>
            </a:xfrm>
            <a:custGeom>
              <a:avLst/>
              <a:gdLst/>
              <a:ahLst/>
              <a:cxnLst>
                <a:cxn ang="0">
                  <a:pos x="6130" y="2584"/>
                </a:cxn>
                <a:cxn ang="0">
                  <a:pos x="6106" y="2594"/>
                </a:cxn>
                <a:cxn ang="0">
                  <a:pos x="5549" y="2661"/>
                </a:cxn>
                <a:cxn ang="0">
                  <a:pos x="5025" y="2423"/>
                </a:cxn>
                <a:cxn ang="0">
                  <a:pos x="4926" y="2101"/>
                </a:cxn>
                <a:cxn ang="0">
                  <a:pos x="4756" y="2101"/>
                </a:cxn>
                <a:cxn ang="0">
                  <a:pos x="4625" y="2625"/>
                </a:cxn>
                <a:cxn ang="0">
                  <a:pos x="4182" y="2625"/>
                </a:cxn>
                <a:cxn ang="0">
                  <a:pos x="4338" y="2101"/>
                </a:cxn>
                <a:cxn ang="0">
                  <a:pos x="4197" y="2101"/>
                </a:cxn>
                <a:cxn ang="0">
                  <a:pos x="3859" y="2625"/>
                </a:cxn>
                <a:cxn ang="0">
                  <a:pos x="3503" y="2625"/>
                </a:cxn>
                <a:cxn ang="0">
                  <a:pos x="3471" y="2101"/>
                </a:cxn>
                <a:cxn ang="0">
                  <a:pos x="3314" y="2101"/>
                </a:cxn>
                <a:cxn ang="0">
                  <a:pos x="3159" y="2625"/>
                </a:cxn>
                <a:cxn ang="0">
                  <a:pos x="2780" y="2625"/>
                </a:cxn>
                <a:cxn ang="0">
                  <a:pos x="2940" y="2101"/>
                </a:cxn>
                <a:cxn ang="0">
                  <a:pos x="2047" y="2101"/>
                </a:cxn>
                <a:cxn ang="0">
                  <a:pos x="2047" y="2093"/>
                </a:cxn>
                <a:cxn ang="0">
                  <a:pos x="1888" y="2626"/>
                </a:cxn>
                <a:cxn ang="0">
                  <a:pos x="1484" y="2626"/>
                </a:cxn>
                <a:cxn ang="0">
                  <a:pos x="1642" y="2101"/>
                </a:cxn>
                <a:cxn ang="0">
                  <a:pos x="1148" y="2101"/>
                </a:cxn>
                <a:cxn ang="0">
                  <a:pos x="1394" y="2626"/>
                </a:cxn>
                <a:cxn ang="0">
                  <a:pos x="927" y="2626"/>
                </a:cxn>
                <a:cxn ang="0">
                  <a:pos x="715" y="2101"/>
                </a:cxn>
                <a:cxn ang="0">
                  <a:pos x="588" y="2101"/>
                </a:cxn>
                <a:cxn ang="0">
                  <a:pos x="442" y="2583"/>
                </a:cxn>
                <a:cxn ang="0">
                  <a:pos x="434" y="2626"/>
                </a:cxn>
                <a:cxn ang="0">
                  <a:pos x="0" y="2626"/>
                </a:cxn>
                <a:cxn ang="0">
                  <a:pos x="397" y="1303"/>
                </a:cxn>
                <a:cxn ang="0">
                  <a:pos x="397" y="0"/>
                </a:cxn>
                <a:cxn ang="0">
                  <a:pos x="1888" y="0"/>
                </a:cxn>
                <a:cxn ang="0">
                  <a:pos x="1888" y="1287"/>
                </a:cxn>
                <a:cxn ang="0">
                  <a:pos x="1944" y="1098"/>
                </a:cxn>
                <a:cxn ang="0">
                  <a:pos x="2047" y="1098"/>
                </a:cxn>
                <a:cxn ang="0">
                  <a:pos x="2047" y="0"/>
                </a:cxn>
                <a:cxn ang="0">
                  <a:pos x="3534" y="0"/>
                </a:cxn>
                <a:cxn ang="0">
                  <a:pos x="3534" y="1098"/>
                </a:cxn>
                <a:cxn ang="0">
                  <a:pos x="3694" y="1098"/>
                </a:cxn>
                <a:cxn ang="0">
                  <a:pos x="3694" y="0"/>
                </a:cxn>
                <a:cxn ang="0">
                  <a:pos x="5180" y="0"/>
                </a:cxn>
                <a:cxn ang="0">
                  <a:pos x="5180" y="1388"/>
                </a:cxn>
                <a:cxn ang="0">
                  <a:pos x="5340" y="1222"/>
                </a:cxn>
                <a:cxn ang="0">
                  <a:pos x="5340" y="0"/>
                </a:cxn>
                <a:cxn ang="0">
                  <a:pos x="6827" y="0"/>
                </a:cxn>
                <a:cxn ang="0">
                  <a:pos x="6827" y="2101"/>
                </a:cxn>
                <a:cxn ang="0">
                  <a:pos x="6266" y="2101"/>
                </a:cxn>
                <a:cxn ang="0">
                  <a:pos x="6130" y="2584"/>
                </a:cxn>
                <a:cxn ang="0">
                  <a:pos x="5342" y="2101"/>
                </a:cxn>
                <a:cxn ang="0">
                  <a:pos x="5386" y="2264"/>
                </a:cxn>
                <a:cxn ang="0">
                  <a:pos x="5610" y="2349"/>
                </a:cxn>
                <a:cxn ang="0">
                  <a:pos x="5788" y="2330"/>
                </a:cxn>
                <a:cxn ang="0">
                  <a:pos x="5861" y="2101"/>
                </a:cxn>
                <a:cxn ang="0">
                  <a:pos x="5342" y="2101"/>
                </a:cxn>
              </a:cxnLst>
              <a:rect l="0" t="0" r="r" b="b"/>
              <a:pathLst>
                <a:path w="6827" h="2661">
                  <a:moveTo>
                    <a:pt x="6130" y="2584"/>
                  </a:moveTo>
                  <a:cubicBezTo>
                    <a:pt x="6106" y="2594"/>
                    <a:pt x="6106" y="2594"/>
                    <a:pt x="6106" y="2594"/>
                  </a:cubicBezTo>
                  <a:cubicBezTo>
                    <a:pt x="6010" y="2632"/>
                    <a:pt x="5728" y="2661"/>
                    <a:pt x="5549" y="2661"/>
                  </a:cubicBezTo>
                  <a:cubicBezTo>
                    <a:pt x="5381" y="2661"/>
                    <a:pt x="5156" y="2599"/>
                    <a:pt x="5025" y="2423"/>
                  </a:cubicBezTo>
                  <a:cubicBezTo>
                    <a:pt x="4975" y="2355"/>
                    <a:pt x="4927" y="2250"/>
                    <a:pt x="4926" y="2101"/>
                  </a:cubicBezTo>
                  <a:cubicBezTo>
                    <a:pt x="4756" y="2101"/>
                    <a:pt x="4756" y="2101"/>
                    <a:pt x="4756" y="2101"/>
                  </a:cubicBezTo>
                  <a:cubicBezTo>
                    <a:pt x="4625" y="2625"/>
                    <a:pt x="4625" y="2625"/>
                    <a:pt x="4625" y="2625"/>
                  </a:cubicBezTo>
                  <a:cubicBezTo>
                    <a:pt x="4182" y="2625"/>
                    <a:pt x="4182" y="2625"/>
                    <a:pt x="4182" y="2625"/>
                  </a:cubicBezTo>
                  <a:cubicBezTo>
                    <a:pt x="4338" y="2101"/>
                    <a:pt x="4338" y="2101"/>
                    <a:pt x="4338" y="2101"/>
                  </a:cubicBezTo>
                  <a:cubicBezTo>
                    <a:pt x="4197" y="2101"/>
                    <a:pt x="4197" y="2101"/>
                    <a:pt x="4197" y="2101"/>
                  </a:cubicBezTo>
                  <a:cubicBezTo>
                    <a:pt x="3859" y="2625"/>
                    <a:pt x="3859" y="2625"/>
                    <a:pt x="3859" y="2625"/>
                  </a:cubicBezTo>
                  <a:cubicBezTo>
                    <a:pt x="3503" y="2625"/>
                    <a:pt x="3503" y="2625"/>
                    <a:pt x="3503" y="2625"/>
                  </a:cubicBezTo>
                  <a:cubicBezTo>
                    <a:pt x="3471" y="2101"/>
                    <a:pt x="3471" y="2101"/>
                    <a:pt x="3471" y="2101"/>
                  </a:cubicBezTo>
                  <a:cubicBezTo>
                    <a:pt x="3314" y="2101"/>
                    <a:pt x="3314" y="2101"/>
                    <a:pt x="3314" y="2101"/>
                  </a:cubicBezTo>
                  <a:cubicBezTo>
                    <a:pt x="3159" y="2625"/>
                    <a:pt x="3159" y="2625"/>
                    <a:pt x="3159" y="2625"/>
                  </a:cubicBezTo>
                  <a:cubicBezTo>
                    <a:pt x="2780" y="2625"/>
                    <a:pt x="2780" y="2625"/>
                    <a:pt x="2780" y="2625"/>
                  </a:cubicBezTo>
                  <a:cubicBezTo>
                    <a:pt x="2940" y="2101"/>
                    <a:pt x="2940" y="2101"/>
                    <a:pt x="2940" y="2101"/>
                  </a:cubicBezTo>
                  <a:cubicBezTo>
                    <a:pt x="2047" y="2101"/>
                    <a:pt x="2047" y="2101"/>
                    <a:pt x="2047" y="2101"/>
                  </a:cubicBezTo>
                  <a:cubicBezTo>
                    <a:pt x="2047" y="2093"/>
                    <a:pt x="2047" y="2093"/>
                    <a:pt x="2047" y="2093"/>
                  </a:cubicBezTo>
                  <a:cubicBezTo>
                    <a:pt x="1888" y="2626"/>
                    <a:pt x="1888" y="2626"/>
                    <a:pt x="1888" y="2626"/>
                  </a:cubicBezTo>
                  <a:cubicBezTo>
                    <a:pt x="1484" y="2626"/>
                    <a:pt x="1484" y="2626"/>
                    <a:pt x="1484" y="2626"/>
                  </a:cubicBezTo>
                  <a:cubicBezTo>
                    <a:pt x="1642" y="2101"/>
                    <a:pt x="1642" y="2101"/>
                    <a:pt x="1642" y="2101"/>
                  </a:cubicBezTo>
                  <a:cubicBezTo>
                    <a:pt x="1148" y="2101"/>
                    <a:pt x="1148" y="2101"/>
                    <a:pt x="1148" y="2101"/>
                  </a:cubicBezTo>
                  <a:cubicBezTo>
                    <a:pt x="1394" y="2626"/>
                    <a:pt x="1394" y="2626"/>
                    <a:pt x="1394" y="2626"/>
                  </a:cubicBezTo>
                  <a:cubicBezTo>
                    <a:pt x="927" y="2626"/>
                    <a:pt x="927" y="2626"/>
                    <a:pt x="927" y="2626"/>
                  </a:cubicBezTo>
                  <a:cubicBezTo>
                    <a:pt x="715" y="2101"/>
                    <a:pt x="715" y="2101"/>
                    <a:pt x="715" y="2101"/>
                  </a:cubicBezTo>
                  <a:cubicBezTo>
                    <a:pt x="588" y="2101"/>
                    <a:pt x="588" y="2101"/>
                    <a:pt x="588" y="2101"/>
                  </a:cubicBezTo>
                  <a:cubicBezTo>
                    <a:pt x="509" y="2359"/>
                    <a:pt x="447" y="2567"/>
                    <a:pt x="442" y="2583"/>
                  </a:cubicBezTo>
                  <a:cubicBezTo>
                    <a:pt x="434" y="2626"/>
                    <a:pt x="434" y="2626"/>
                    <a:pt x="434" y="2626"/>
                  </a:cubicBezTo>
                  <a:cubicBezTo>
                    <a:pt x="0" y="2626"/>
                    <a:pt x="0" y="2626"/>
                    <a:pt x="0" y="2626"/>
                  </a:cubicBezTo>
                  <a:cubicBezTo>
                    <a:pt x="397" y="1303"/>
                    <a:pt x="397" y="1303"/>
                    <a:pt x="397" y="1303"/>
                  </a:cubicBezTo>
                  <a:cubicBezTo>
                    <a:pt x="397" y="0"/>
                    <a:pt x="397" y="0"/>
                    <a:pt x="397" y="0"/>
                  </a:cubicBezTo>
                  <a:cubicBezTo>
                    <a:pt x="1888" y="0"/>
                    <a:pt x="1888" y="0"/>
                    <a:pt x="1888" y="0"/>
                  </a:cubicBezTo>
                  <a:cubicBezTo>
                    <a:pt x="1888" y="1287"/>
                    <a:pt x="1888" y="1287"/>
                    <a:pt x="1888" y="1287"/>
                  </a:cubicBezTo>
                  <a:cubicBezTo>
                    <a:pt x="1944" y="1098"/>
                    <a:pt x="1944" y="1098"/>
                    <a:pt x="1944" y="1098"/>
                  </a:cubicBezTo>
                  <a:cubicBezTo>
                    <a:pt x="2047" y="1098"/>
                    <a:pt x="2047" y="1098"/>
                    <a:pt x="2047" y="1098"/>
                  </a:cubicBezTo>
                  <a:cubicBezTo>
                    <a:pt x="2047" y="0"/>
                    <a:pt x="2047" y="0"/>
                    <a:pt x="2047" y="0"/>
                  </a:cubicBezTo>
                  <a:cubicBezTo>
                    <a:pt x="3534" y="0"/>
                    <a:pt x="3534" y="0"/>
                    <a:pt x="3534" y="0"/>
                  </a:cubicBezTo>
                  <a:cubicBezTo>
                    <a:pt x="3534" y="1098"/>
                    <a:pt x="3534" y="1098"/>
                    <a:pt x="3534" y="1098"/>
                  </a:cubicBezTo>
                  <a:cubicBezTo>
                    <a:pt x="3694" y="1098"/>
                    <a:pt x="3694" y="1098"/>
                    <a:pt x="3694" y="1098"/>
                  </a:cubicBezTo>
                  <a:cubicBezTo>
                    <a:pt x="3694" y="0"/>
                    <a:pt x="3694" y="0"/>
                    <a:pt x="3694" y="0"/>
                  </a:cubicBezTo>
                  <a:cubicBezTo>
                    <a:pt x="5180" y="0"/>
                    <a:pt x="5180" y="0"/>
                    <a:pt x="5180" y="0"/>
                  </a:cubicBezTo>
                  <a:cubicBezTo>
                    <a:pt x="5180" y="1388"/>
                    <a:pt x="5180" y="1388"/>
                    <a:pt x="5180" y="1388"/>
                  </a:cubicBezTo>
                  <a:cubicBezTo>
                    <a:pt x="5231" y="1319"/>
                    <a:pt x="5285" y="1264"/>
                    <a:pt x="5340" y="1222"/>
                  </a:cubicBezTo>
                  <a:cubicBezTo>
                    <a:pt x="5340" y="0"/>
                    <a:pt x="5340" y="0"/>
                    <a:pt x="5340" y="0"/>
                  </a:cubicBezTo>
                  <a:cubicBezTo>
                    <a:pt x="6827" y="0"/>
                    <a:pt x="6827" y="0"/>
                    <a:pt x="6827" y="0"/>
                  </a:cubicBezTo>
                  <a:cubicBezTo>
                    <a:pt x="6827" y="2101"/>
                    <a:pt x="6827" y="2101"/>
                    <a:pt x="6827" y="2101"/>
                  </a:cubicBezTo>
                  <a:cubicBezTo>
                    <a:pt x="6266" y="2101"/>
                    <a:pt x="6266" y="2101"/>
                    <a:pt x="6266" y="2101"/>
                  </a:cubicBezTo>
                  <a:lnTo>
                    <a:pt x="6130" y="2584"/>
                  </a:lnTo>
                  <a:close/>
                  <a:moveTo>
                    <a:pt x="5342" y="2101"/>
                  </a:moveTo>
                  <a:cubicBezTo>
                    <a:pt x="5344" y="2169"/>
                    <a:pt x="5356" y="2226"/>
                    <a:pt x="5386" y="2264"/>
                  </a:cubicBezTo>
                  <a:cubicBezTo>
                    <a:pt x="5429" y="2321"/>
                    <a:pt x="5503" y="2349"/>
                    <a:pt x="5610" y="2349"/>
                  </a:cubicBezTo>
                  <a:cubicBezTo>
                    <a:pt x="5728" y="2349"/>
                    <a:pt x="5773" y="2336"/>
                    <a:pt x="5788" y="2330"/>
                  </a:cubicBezTo>
                  <a:cubicBezTo>
                    <a:pt x="5861" y="2101"/>
                    <a:pt x="5861" y="2101"/>
                    <a:pt x="5861" y="2101"/>
                  </a:cubicBezTo>
                  <a:lnTo>
                    <a:pt x="5342" y="2101"/>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 name="Freeform 7"/>
            <p:cNvSpPr>
              <a:spLocks noEditPoints="1"/>
            </p:cNvSpPr>
            <p:nvPr userDrawn="1"/>
          </p:nvSpPr>
          <p:spPr bwMode="gray">
            <a:xfrm>
              <a:off x="294581" y="330200"/>
              <a:ext cx="650875" cy="152400"/>
            </a:xfrm>
            <a:custGeom>
              <a:avLst/>
              <a:gdLst/>
              <a:ahLst/>
              <a:cxnLst>
                <a:cxn ang="0">
                  <a:pos x="2581" y="459"/>
                </a:cxn>
                <a:cxn ang="0">
                  <a:pos x="2254" y="682"/>
                </a:cxn>
                <a:cxn ang="0">
                  <a:pos x="2000" y="681"/>
                </a:cxn>
                <a:cxn ang="0">
                  <a:pos x="2130" y="234"/>
                </a:cxn>
                <a:cxn ang="0">
                  <a:pos x="2581" y="459"/>
                </a:cxn>
                <a:cxn ang="0">
                  <a:pos x="749" y="30"/>
                </a:cxn>
                <a:cxn ang="0">
                  <a:pos x="427" y="30"/>
                </a:cxn>
                <a:cxn ang="0">
                  <a:pos x="0" y="1452"/>
                </a:cxn>
                <a:cxn ang="0">
                  <a:pos x="319" y="1452"/>
                </a:cxn>
                <a:cxn ang="0">
                  <a:pos x="749" y="30"/>
                </a:cxn>
                <a:cxn ang="0">
                  <a:pos x="1585" y="30"/>
                </a:cxn>
                <a:cxn ang="0">
                  <a:pos x="1194" y="30"/>
                </a:cxn>
                <a:cxn ang="0">
                  <a:pos x="571" y="658"/>
                </a:cxn>
                <a:cxn ang="0">
                  <a:pos x="571" y="657"/>
                </a:cxn>
                <a:cxn ang="0">
                  <a:pos x="571" y="658"/>
                </a:cxn>
                <a:cxn ang="0">
                  <a:pos x="571" y="658"/>
                </a:cxn>
                <a:cxn ang="0">
                  <a:pos x="571" y="658"/>
                </a:cxn>
                <a:cxn ang="0">
                  <a:pos x="571" y="658"/>
                </a:cxn>
                <a:cxn ang="0">
                  <a:pos x="571" y="658"/>
                </a:cxn>
                <a:cxn ang="0">
                  <a:pos x="892" y="1452"/>
                </a:cxn>
                <a:cxn ang="0">
                  <a:pos x="1239" y="1452"/>
                </a:cxn>
                <a:cxn ang="0">
                  <a:pos x="881" y="688"/>
                </a:cxn>
                <a:cxn ang="0">
                  <a:pos x="1585" y="30"/>
                </a:cxn>
                <a:cxn ang="0">
                  <a:pos x="2875" y="459"/>
                </a:cxn>
                <a:cxn ang="0">
                  <a:pos x="2275" y="30"/>
                </a:cxn>
                <a:cxn ang="0">
                  <a:pos x="1913" y="30"/>
                </a:cxn>
                <a:cxn ang="0">
                  <a:pos x="1484" y="1452"/>
                </a:cxn>
                <a:cxn ang="0">
                  <a:pos x="1777" y="1452"/>
                </a:cxn>
                <a:cxn ang="0">
                  <a:pos x="1945" y="890"/>
                </a:cxn>
                <a:cxn ang="0">
                  <a:pos x="2179" y="890"/>
                </a:cxn>
                <a:cxn ang="0">
                  <a:pos x="2875" y="459"/>
                </a:cxn>
                <a:cxn ang="0">
                  <a:pos x="4866" y="30"/>
                </a:cxn>
                <a:cxn ang="0">
                  <a:pos x="4400" y="30"/>
                </a:cxn>
                <a:cxn ang="0">
                  <a:pos x="3694" y="1259"/>
                </a:cxn>
                <a:cxn ang="0">
                  <a:pos x="3678" y="30"/>
                </a:cxn>
                <a:cxn ang="0">
                  <a:pos x="3216" y="30"/>
                </a:cxn>
                <a:cxn ang="0">
                  <a:pos x="2781" y="1451"/>
                </a:cxn>
                <a:cxn ang="0">
                  <a:pos x="3048" y="1451"/>
                </a:cxn>
                <a:cxn ang="0">
                  <a:pos x="3408" y="234"/>
                </a:cxn>
                <a:cxn ang="0">
                  <a:pos x="3482" y="1451"/>
                </a:cxn>
                <a:cxn ang="0">
                  <a:pos x="3758" y="1451"/>
                </a:cxn>
                <a:cxn ang="0">
                  <a:pos x="4544" y="234"/>
                </a:cxn>
                <a:cxn ang="0">
                  <a:pos x="4183" y="1451"/>
                </a:cxn>
                <a:cxn ang="0">
                  <a:pos x="4512" y="1451"/>
                </a:cxn>
                <a:cxn ang="0">
                  <a:pos x="4866" y="30"/>
                </a:cxn>
                <a:cxn ang="0">
                  <a:pos x="5792" y="0"/>
                </a:cxn>
                <a:cxn ang="0">
                  <a:pos x="4947" y="735"/>
                </a:cxn>
                <a:cxn ang="0">
                  <a:pos x="5478" y="1487"/>
                </a:cxn>
                <a:cxn ang="0">
                  <a:pos x="6015" y="1424"/>
                </a:cxn>
                <a:cxn ang="0">
                  <a:pos x="6217" y="706"/>
                </a:cxn>
                <a:cxn ang="0">
                  <a:pos x="5614" y="706"/>
                </a:cxn>
                <a:cxn ang="0">
                  <a:pos x="5547" y="920"/>
                </a:cxn>
                <a:cxn ang="0">
                  <a:pos x="5865" y="920"/>
                </a:cxn>
                <a:cxn ang="0">
                  <a:pos x="5766" y="1232"/>
                </a:cxn>
                <a:cxn ang="0">
                  <a:pos x="5540" y="1282"/>
                </a:cxn>
                <a:cxn ang="0">
                  <a:pos x="5254" y="727"/>
                </a:cxn>
                <a:cxn ang="0">
                  <a:pos x="5764" y="205"/>
                </a:cxn>
                <a:cxn ang="0">
                  <a:pos x="6001" y="451"/>
                </a:cxn>
                <a:cxn ang="0">
                  <a:pos x="5991" y="487"/>
                </a:cxn>
                <a:cxn ang="0">
                  <a:pos x="6284" y="487"/>
                </a:cxn>
                <a:cxn ang="0">
                  <a:pos x="5792" y="0"/>
                </a:cxn>
              </a:cxnLst>
              <a:rect l="0" t="0" r="r" b="b"/>
              <a:pathLst>
                <a:path w="6358" h="1487">
                  <a:moveTo>
                    <a:pt x="2581" y="459"/>
                  </a:moveTo>
                  <a:cubicBezTo>
                    <a:pt x="2533" y="604"/>
                    <a:pt x="2468" y="678"/>
                    <a:pt x="2254" y="682"/>
                  </a:cubicBezTo>
                  <a:cubicBezTo>
                    <a:pt x="2183" y="683"/>
                    <a:pt x="2106" y="681"/>
                    <a:pt x="2000" y="681"/>
                  </a:cubicBezTo>
                  <a:cubicBezTo>
                    <a:pt x="2130" y="234"/>
                    <a:pt x="2130" y="234"/>
                    <a:pt x="2130" y="234"/>
                  </a:cubicBezTo>
                  <a:cubicBezTo>
                    <a:pt x="2451" y="234"/>
                    <a:pt x="2665" y="208"/>
                    <a:pt x="2581" y="459"/>
                  </a:cubicBezTo>
                  <a:moveTo>
                    <a:pt x="749" y="30"/>
                  </a:moveTo>
                  <a:cubicBezTo>
                    <a:pt x="427" y="30"/>
                    <a:pt x="427" y="30"/>
                    <a:pt x="427" y="30"/>
                  </a:cubicBezTo>
                  <a:cubicBezTo>
                    <a:pt x="0" y="1452"/>
                    <a:pt x="0" y="1452"/>
                    <a:pt x="0" y="1452"/>
                  </a:cubicBezTo>
                  <a:cubicBezTo>
                    <a:pt x="319" y="1452"/>
                    <a:pt x="319" y="1452"/>
                    <a:pt x="319" y="1452"/>
                  </a:cubicBezTo>
                  <a:cubicBezTo>
                    <a:pt x="325" y="1422"/>
                    <a:pt x="749" y="30"/>
                    <a:pt x="749" y="30"/>
                  </a:cubicBezTo>
                  <a:moveTo>
                    <a:pt x="1585" y="30"/>
                  </a:moveTo>
                  <a:cubicBezTo>
                    <a:pt x="1194" y="30"/>
                    <a:pt x="1194" y="30"/>
                    <a:pt x="1194" y="30"/>
                  </a:cubicBezTo>
                  <a:cubicBezTo>
                    <a:pt x="571" y="658"/>
                    <a:pt x="571" y="658"/>
                    <a:pt x="571" y="658"/>
                  </a:cubicBezTo>
                  <a:cubicBezTo>
                    <a:pt x="571" y="657"/>
                    <a:pt x="571" y="657"/>
                    <a:pt x="571" y="657"/>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892" y="1452"/>
                    <a:pt x="892" y="1452"/>
                    <a:pt x="892" y="1452"/>
                  </a:cubicBezTo>
                  <a:cubicBezTo>
                    <a:pt x="1239" y="1452"/>
                    <a:pt x="1239" y="1452"/>
                    <a:pt x="1239" y="1452"/>
                  </a:cubicBezTo>
                  <a:cubicBezTo>
                    <a:pt x="881" y="688"/>
                    <a:pt x="881" y="688"/>
                    <a:pt x="881" y="688"/>
                  </a:cubicBezTo>
                  <a:lnTo>
                    <a:pt x="1585" y="30"/>
                  </a:lnTo>
                  <a:close/>
                  <a:moveTo>
                    <a:pt x="2875" y="459"/>
                  </a:moveTo>
                  <a:cubicBezTo>
                    <a:pt x="2956" y="21"/>
                    <a:pt x="2603" y="26"/>
                    <a:pt x="2275" y="30"/>
                  </a:cubicBezTo>
                  <a:cubicBezTo>
                    <a:pt x="1913" y="30"/>
                    <a:pt x="1913" y="30"/>
                    <a:pt x="1913" y="30"/>
                  </a:cubicBezTo>
                  <a:cubicBezTo>
                    <a:pt x="1484" y="1452"/>
                    <a:pt x="1484" y="1452"/>
                    <a:pt x="1484" y="1452"/>
                  </a:cubicBezTo>
                  <a:cubicBezTo>
                    <a:pt x="1777" y="1452"/>
                    <a:pt x="1777" y="1452"/>
                    <a:pt x="1777" y="1452"/>
                  </a:cubicBezTo>
                  <a:cubicBezTo>
                    <a:pt x="1945" y="890"/>
                    <a:pt x="1945" y="890"/>
                    <a:pt x="1945" y="890"/>
                  </a:cubicBezTo>
                  <a:cubicBezTo>
                    <a:pt x="2179" y="890"/>
                    <a:pt x="2179" y="890"/>
                    <a:pt x="2179" y="890"/>
                  </a:cubicBezTo>
                  <a:cubicBezTo>
                    <a:pt x="2633" y="890"/>
                    <a:pt x="2833" y="689"/>
                    <a:pt x="2875" y="459"/>
                  </a:cubicBezTo>
                  <a:moveTo>
                    <a:pt x="4866" y="30"/>
                  </a:moveTo>
                  <a:cubicBezTo>
                    <a:pt x="4400" y="30"/>
                    <a:pt x="4400" y="30"/>
                    <a:pt x="4400" y="30"/>
                  </a:cubicBezTo>
                  <a:cubicBezTo>
                    <a:pt x="3832" y="817"/>
                    <a:pt x="3694" y="1259"/>
                    <a:pt x="3694" y="1259"/>
                  </a:cubicBezTo>
                  <a:cubicBezTo>
                    <a:pt x="3749" y="759"/>
                    <a:pt x="3678" y="30"/>
                    <a:pt x="3678" y="30"/>
                  </a:cubicBezTo>
                  <a:cubicBezTo>
                    <a:pt x="3216" y="30"/>
                    <a:pt x="3216" y="30"/>
                    <a:pt x="3216" y="30"/>
                  </a:cubicBezTo>
                  <a:cubicBezTo>
                    <a:pt x="2781" y="1451"/>
                    <a:pt x="2781" y="1451"/>
                    <a:pt x="2781" y="1451"/>
                  </a:cubicBezTo>
                  <a:cubicBezTo>
                    <a:pt x="3048" y="1451"/>
                    <a:pt x="3048" y="1451"/>
                    <a:pt x="3048" y="1451"/>
                  </a:cubicBezTo>
                  <a:cubicBezTo>
                    <a:pt x="3408" y="234"/>
                    <a:pt x="3408" y="234"/>
                    <a:pt x="3408" y="234"/>
                  </a:cubicBezTo>
                  <a:cubicBezTo>
                    <a:pt x="3482" y="1451"/>
                    <a:pt x="3482" y="1451"/>
                    <a:pt x="3482" y="1451"/>
                  </a:cubicBezTo>
                  <a:cubicBezTo>
                    <a:pt x="3758" y="1451"/>
                    <a:pt x="3758" y="1451"/>
                    <a:pt x="3758" y="1451"/>
                  </a:cubicBezTo>
                  <a:cubicBezTo>
                    <a:pt x="4544" y="234"/>
                    <a:pt x="4544" y="234"/>
                    <a:pt x="4544" y="234"/>
                  </a:cubicBezTo>
                  <a:cubicBezTo>
                    <a:pt x="4183" y="1451"/>
                    <a:pt x="4183" y="1451"/>
                    <a:pt x="4183" y="1451"/>
                  </a:cubicBezTo>
                  <a:cubicBezTo>
                    <a:pt x="4512" y="1451"/>
                    <a:pt x="4512" y="1451"/>
                    <a:pt x="4512" y="1451"/>
                  </a:cubicBezTo>
                  <a:lnTo>
                    <a:pt x="4866" y="30"/>
                  </a:lnTo>
                  <a:close/>
                  <a:moveTo>
                    <a:pt x="5792" y="0"/>
                  </a:moveTo>
                  <a:cubicBezTo>
                    <a:pt x="5506" y="0"/>
                    <a:pt x="5151" y="64"/>
                    <a:pt x="4947" y="735"/>
                  </a:cubicBezTo>
                  <a:cubicBezTo>
                    <a:pt x="4777" y="1296"/>
                    <a:pt x="5191" y="1487"/>
                    <a:pt x="5478" y="1487"/>
                  </a:cubicBezTo>
                  <a:cubicBezTo>
                    <a:pt x="5667" y="1487"/>
                    <a:pt x="5935" y="1455"/>
                    <a:pt x="6015" y="1424"/>
                  </a:cubicBezTo>
                  <a:cubicBezTo>
                    <a:pt x="6217" y="706"/>
                    <a:pt x="6217" y="706"/>
                    <a:pt x="6217" y="706"/>
                  </a:cubicBezTo>
                  <a:cubicBezTo>
                    <a:pt x="5614" y="706"/>
                    <a:pt x="5614" y="706"/>
                    <a:pt x="5614" y="706"/>
                  </a:cubicBezTo>
                  <a:cubicBezTo>
                    <a:pt x="5547" y="920"/>
                    <a:pt x="5547" y="920"/>
                    <a:pt x="5547" y="920"/>
                  </a:cubicBezTo>
                  <a:cubicBezTo>
                    <a:pt x="5865" y="920"/>
                    <a:pt x="5865" y="920"/>
                    <a:pt x="5865" y="920"/>
                  </a:cubicBezTo>
                  <a:cubicBezTo>
                    <a:pt x="5766" y="1232"/>
                    <a:pt x="5766" y="1232"/>
                    <a:pt x="5766" y="1232"/>
                  </a:cubicBezTo>
                  <a:cubicBezTo>
                    <a:pt x="5766" y="1232"/>
                    <a:pt x="5779" y="1281"/>
                    <a:pt x="5540" y="1282"/>
                  </a:cubicBezTo>
                  <a:cubicBezTo>
                    <a:pt x="5238" y="1283"/>
                    <a:pt x="5155" y="1072"/>
                    <a:pt x="5254" y="727"/>
                  </a:cubicBezTo>
                  <a:cubicBezTo>
                    <a:pt x="5346" y="407"/>
                    <a:pt x="5493" y="192"/>
                    <a:pt x="5764" y="205"/>
                  </a:cubicBezTo>
                  <a:cubicBezTo>
                    <a:pt x="5947" y="214"/>
                    <a:pt x="6052" y="282"/>
                    <a:pt x="6001" y="451"/>
                  </a:cubicBezTo>
                  <a:cubicBezTo>
                    <a:pt x="5998" y="463"/>
                    <a:pt x="5996" y="477"/>
                    <a:pt x="5991" y="487"/>
                  </a:cubicBezTo>
                  <a:cubicBezTo>
                    <a:pt x="6284" y="487"/>
                    <a:pt x="6284" y="487"/>
                    <a:pt x="6284" y="487"/>
                  </a:cubicBezTo>
                  <a:cubicBezTo>
                    <a:pt x="6358" y="270"/>
                    <a:pt x="6210" y="0"/>
                    <a:pt x="5792"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1" name="Freeform 8"/>
            <p:cNvSpPr>
              <a:spLocks noEditPoints="1"/>
            </p:cNvSpPr>
            <p:nvPr userDrawn="1"/>
          </p:nvSpPr>
          <p:spPr bwMode="gray">
            <a:xfrm>
              <a:off x="175518" y="0"/>
              <a:ext cx="963613" cy="695325"/>
            </a:xfrm>
            <a:custGeom>
              <a:avLst/>
              <a:gdLst/>
              <a:ahLst/>
              <a:cxnLst>
                <a:cxn ang="0">
                  <a:pos x="607" y="136"/>
                </a:cxn>
                <a:cxn ang="0">
                  <a:pos x="511" y="136"/>
                </a:cxn>
                <a:cxn ang="0">
                  <a:pos x="511" y="0"/>
                </a:cxn>
                <a:cxn ang="0">
                  <a:pos x="607" y="0"/>
                </a:cxn>
                <a:cxn ang="0">
                  <a:pos x="607" y="136"/>
                </a:cxn>
                <a:cxn ang="0">
                  <a:pos x="607" y="302"/>
                </a:cxn>
                <a:cxn ang="0">
                  <a:pos x="511" y="302"/>
                </a:cxn>
                <a:cxn ang="0">
                  <a:pos x="511" y="438"/>
                </a:cxn>
                <a:cxn ang="0">
                  <a:pos x="607" y="438"/>
                </a:cxn>
                <a:cxn ang="0">
                  <a:pos x="607" y="302"/>
                </a:cxn>
                <a:cxn ang="0">
                  <a:pos x="96" y="0"/>
                </a:cxn>
                <a:cxn ang="0">
                  <a:pos x="0" y="0"/>
                </a:cxn>
                <a:cxn ang="0">
                  <a:pos x="0" y="136"/>
                </a:cxn>
                <a:cxn ang="0">
                  <a:pos x="96" y="136"/>
                </a:cxn>
                <a:cxn ang="0">
                  <a:pos x="96" y="0"/>
                </a:cxn>
                <a:cxn ang="0">
                  <a:pos x="96" y="302"/>
                </a:cxn>
                <a:cxn ang="0">
                  <a:pos x="0" y="302"/>
                </a:cxn>
                <a:cxn ang="0">
                  <a:pos x="0" y="438"/>
                </a:cxn>
                <a:cxn ang="0">
                  <a:pos x="96" y="438"/>
                </a:cxn>
                <a:cxn ang="0">
                  <a:pos x="96" y="302"/>
                </a:cxn>
              </a:cxnLst>
              <a:rect l="0" t="0" r="r" b="b"/>
              <a:pathLst>
                <a:path w="607" h="438">
                  <a:moveTo>
                    <a:pt x="607" y="136"/>
                  </a:moveTo>
                  <a:lnTo>
                    <a:pt x="511" y="136"/>
                  </a:lnTo>
                  <a:lnTo>
                    <a:pt x="511" y="0"/>
                  </a:lnTo>
                  <a:lnTo>
                    <a:pt x="607" y="0"/>
                  </a:lnTo>
                  <a:lnTo>
                    <a:pt x="607" y="136"/>
                  </a:lnTo>
                  <a:close/>
                  <a:moveTo>
                    <a:pt x="607" y="302"/>
                  </a:moveTo>
                  <a:lnTo>
                    <a:pt x="511" y="302"/>
                  </a:lnTo>
                  <a:lnTo>
                    <a:pt x="511" y="438"/>
                  </a:lnTo>
                  <a:lnTo>
                    <a:pt x="607" y="438"/>
                  </a:lnTo>
                  <a:lnTo>
                    <a:pt x="607" y="302"/>
                  </a:lnTo>
                  <a:close/>
                  <a:moveTo>
                    <a:pt x="96" y="0"/>
                  </a:moveTo>
                  <a:lnTo>
                    <a:pt x="0" y="0"/>
                  </a:lnTo>
                  <a:lnTo>
                    <a:pt x="0" y="136"/>
                  </a:lnTo>
                  <a:lnTo>
                    <a:pt x="96" y="136"/>
                  </a:lnTo>
                  <a:lnTo>
                    <a:pt x="96" y="0"/>
                  </a:lnTo>
                  <a:close/>
                  <a:moveTo>
                    <a:pt x="96" y="302"/>
                  </a:moveTo>
                  <a:lnTo>
                    <a:pt x="0" y="302"/>
                  </a:lnTo>
                  <a:lnTo>
                    <a:pt x="0" y="438"/>
                  </a:lnTo>
                  <a:lnTo>
                    <a:pt x="96" y="438"/>
                  </a:lnTo>
                  <a:lnTo>
                    <a:pt x="96" y="302"/>
                  </a:lnTo>
                  <a:close/>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pic>
        <p:nvPicPr>
          <p:cNvPr id="22" name="Picture 2" descr="V:\Verschiedenes\2012\brainnet\BrainNet_Logo2002095.emf"/>
          <p:cNvPicPr>
            <a:picLocks noChangeAspect="1" noChangeArrowheads="1"/>
          </p:cNvPicPr>
          <p:nvPr userDrawn="1"/>
        </p:nvPicPr>
        <p:blipFill>
          <a:blip r:embed="rId2" cstate="print"/>
          <a:srcRect/>
          <a:stretch>
            <a:fillRect/>
          </a:stretch>
        </p:blipFill>
        <p:spPr bwMode="auto">
          <a:xfrm>
            <a:off x="8597234" y="188640"/>
            <a:ext cx="1029366" cy="324000"/>
          </a:xfrm>
          <a:prstGeom prst="rect">
            <a:avLst/>
          </a:prstGeom>
          <a:noFill/>
        </p:spPr>
      </p:pic>
      <p:sp>
        <p:nvSpPr>
          <p:cNvPr id="10" name="Text Placeholder 4"/>
          <p:cNvSpPr>
            <a:spLocks noGrp="1"/>
          </p:cNvSpPr>
          <p:nvPr>
            <p:ph type="body" sz="quarter" idx="10"/>
          </p:nvPr>
        </p:nvSpPr>
        <p:spPr bwMode="gray">
          <a:xfrm>
            <a:off x="273051" y="1269454"/>
            <a:ext cx="4604544" cy="4896396"/>
          </a:xfrm>
          <a:prstGeom prst="rect">
            <a:avLst/>
          </a:prstGeom>
        </p:spPr>
        <p:txBody>
          <a:bodyPr vert="horz" lIns="0" tIns="0" rIns="0" bIns="0" rtlCol="0">
            <a:noAutofit/>
          </a:bodyPr>
          <a:lstStyle>
            <a:lvl1pPr algn="l" defTabSz="914400" rtl="0" eaLnBrk="1" latinLnBrk="0" hangingPunct="1">
              <a:lnSpc>
                <a:spcPct val="100000"/>
              </a:lnSpc>
              <a:spcBef>
                <a:spcPts val="600"/>
              </a:spcBef>
              <a:buFont typeface="Arial" pitchFamily="34" charset="0"/>
              <a:buNone/>
              <a:defRPr lang="de-DE" sz="1000" b="1" kern="1200" noProof="0" smtClean="0">
                <a:solidFill>
                  <a:schemeClr val="tx1"/>
                </a:solidFill>
                <a:latin typeface="Times New Roman" pitchFamily="18" charset="0"/>
                <a:ea typeface="+mn-ea"/>
                <a:cs typeface="Times New Roman" pitchFamily="18" charset="0"/>
              </a:defRPr>
            </a:lvl1pPr>
            <a:lvl2pPr algn="l" defTabSz="914400" rtl="0" eaLnBrk="1" latinLnBrk="0" hangingPunct="1">
              <a:lnSpc>
                <a:spcPct val="100000"/>
              </a:lnSpc>
              <a:spcBef>
                <a:spcPts val="600"/>
              </a:spcBef>
              <a:buFont typeface="Arial" pitchFamily="34" charset="0"/>
              <a:defRPr lang="de-DE" sz="1000" b="0" kern="1200" noProof="0" smtClean="0">
                <a:solidFill>
                  <a:schemeClr val="tx1"/>
                </a:solidFill>
                <a:latin typeface="Times New Roman" pitchFamily="18" charset="0"/>
                <a:ea typeface="+mn-ea"/>
                <a:cs typeface="Times New Roman" pitchFamily="18" charset="0"/>
              </a:defRPr>
            </a:lvl2pPr>
            <a:lvl3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3pPr>
            <a:lvl4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4pPr>
            <a:lvl5pPr algn="l" defTabSz="914400" rtl="0" eaLnBrk="1" latinLnBrk="0" hangingPunct="1">
              <a:lnSpc>
                <a:spcPct val="100000"/>
              </a:lnSpc>
              <a:spcBef>
                <a:spcPts val="600"/>
              </a:spcBef>
              <a:buClrTx/>
              <a:buFont typeface="Arial" pitchFamily="34" charset="0"/>
              <a:defRPr lang="de-DE" sz="1000" b="0" kern="1200" noProof="0" dirty="0">
                <a:solidFill>
                  <a:schemeClr val="tx1"/>
                </a:solidFill>
                <a:latin typeface="Times New Roman" pitchFamily="18" charset="0"/>
                <a:ea typeface="+mn-ea"/>
                <a:cs typeface="Times New Roman" pitchFamily="18" charset="0"/>
              </a:defRPr>
            </a:lvl5pPr>
            <a:lvl6pPr>
              <a:buClrTx/>
              <a:defRPr sz="1000" baseline="0">
                <a:solidFill>
                  <a:schemeClr val="tx1"/>
                </a:solidFill>
                <a:latin typeface="Times New Roman" pitchFamily="18" charset="0"/>
                <a:cs typeface="Times New Roman" pitchFamily="18" charset="0"/>
              </a:defRPr>
            </a:lvl6pPr>
            <a:lvl7pPr>
              <a:buClrTx/>
              <a:defRPr sz="1000" baseline="0">
                <a:solidFill>
                  <a:schemeClr val="tx1"/>
                </a:solidFill>
                <a:latin typeface="Times New Roman" pitchFamily="18" charset="0"/>
                <a:cs typeface="Times New Roman" pitchFamily="18" charset="0"/>
              </a:defRPr>
            </a:lvl7pPr>
            <a:lvl8pPr>
              <a:buClrTx/>
              <a:defRPr sz="1000" baseline="0">
                <a:solidFill>
                  <a:schemeClr val="tx1"/>
                </a:solidFill>
                <a:latin typeface="Times New Roman" pitchFamily="18" charset="0"/>
                <a:cs typeface="Times New Roman" pitchFamily="18" charset="0"/>
              </a:defRPr>
            </a:lvl8pPr>
            <a:lvl9pPr>
              <a:buClrTx/>
              <a:defRPr sz="1000" baseline="0">
                <a:solidFill>
                  <a:schemeClr val="tx1"/>
                </a:solidFill>
                <a:latin typeface="Times New Roman" pitchFamily="18" charset="0"/>
                <a:cs typeface="Times New Roman" pitchFamily="18"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ext Placeholder 4"/>
          <p:cNvSpPr>
            <a:spLocks noGrp="1"/>
          </p:cNvSpPr>
          <p:nvPr>
            <p:ph type="body" sz="quarter" idx="11"/>
          </p:nvPr>
        </p:nvSpPr>
        <p:spPr bwMode="gray">
          <a:xfrm>
            <a:off x="5020469" y="1269454"/>
            <a:ext cx="4604544" cy="4896396"/>
          </a:xfrm>
          <a:prstGeom prst="rect">
            <a:avLst/>
          </a:prstGeom>
        </p:spPr>
        <p:txBody>
          <a:bodyPr vert="horz" lIns="0" tIns="0" rIns="0" bIns="0" rtlCol="0">
            <a:noAutofit/>
          </a:bodyPr>
          <a:lstStyle>
            <a:lvl1pPr algn="l" defTabSz="914400" rtl="0" eaLnBrk="1" latinLnBrk="0" hangingPunct="1">
              <a:lnSpc>
                <a:spcPct val="100000"/>
              </a:lnSpc>
              <a:spcBef>
                <a:spcPts val="600"/>
              </a:spcBef>
              <a:buFont typeface="Arial" pitchFamily="34" charset="0"/>
              <a:defRPr lang="de-DE" sz="1000" b="1" kern="1200" noProof="0" dirty="0" smtClean="0">
                <a:solidFill>
                  <a:schemeClr val="tx1"/>
                </a:solidFill>
                <a:latin typeface="Times New Roman" pitchFamily="18" charset="0"/>
                <a:ea typeface="+mn-ea"/>
                <a:cs typeface="Times New Roman" pitchFamily="18" charset="0"/>
              </a:defRPr>
            </a:lvl1pPr>
            <a:lvl2pPr algn="l" defTabSz="914400" rtl="0" eaLnBrk="1" latinLnBrk="0" hangingPunct="1">
              <a:lnSpc>
                <a:spcPct val="100000"/>
              </a:lnSpc>
              <a:spcBef>
                <a:spcPts val="600"/>
              </a:spcBef>
              <a:buFont typeface="Arial" pitchFamily="34" charset="0"/>
              <a:defRPr lang="de-DE" sz="1000" b="0" kern="1200" noProof="0" smtClean="0">
                <a:solidFill>
                  <a:schemeClr val="tx1"/>
                </a:solidFill>
                <a:latin typeface="Times New Roman" pitchFamily="18" charset="0"/>
                <a:ea typeface="+mn-ea"/>
                <a:cs typeface="Times New Roman" pitchFamily="18" charset="0"/>
              </a:defRPr>
            </a:lvl2pPr>
            <a:lvl3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3pPr>
            <a:lvl4pPr algn="l" defTabSz="914400" rtl="0" eaLnBrk="1" latinLnBrk="0" hangingPunct="1">
              <a:lnSpc>
                <a:spcPct val="100000"/>
              </a:lnSpc>
              <a:spcBef>
                <a:spcPts val="600"/>
              </a:spcBef>
              <a:buClrTx/>
              <a:buFont typeface="Arial" pitchFamily="34" charset="0"/>
              <a:defRPr lang="de-DE" sz="1000" b="0" kern="1200" noProof="0" smtClean="0">
                <a:solidFill>
                  <a:schemeClr val="tx1"/>
                </a:solidFill>
                <a:latin typeface="Times New Roman" pitchFamily="18" charset="0"/>
                <a:ea typeface="+mn-ea"/>
                <a:cs typeface="Times New Roman" pitchFamily="18" charset="0"/>
              </a:defRPr>
            </a:lvl4pPr>
            <a:lvl5pPr algn="l" defTabSz="914400" rtl="0" eaLnBrk="1" latinLnBrk="0" hangingPunct="1">
              <a:lnSpc>
                <a:spcPct val="100000"/>
              </a:lnSpc>
              <a:spcBef>
                <a:spcPts val="600"/>
              </a:spcBef>
              <a:buClrTx/>
              <a:buFont typeface="Arial" pitchFamily="34" charset="0"/>
              <a:defRPr lang="de-DE" sz="1000" b="0" kern="1200" noProof="0" dirty="0">
                <a:solidFill>
                  <a:schemeClr val="tx1"/>
                </a:solidFill>
                <a:latin typeface="Times New Roman" pitchFamily="18" charset="0"/>
                <a:ea typeface="+mn-ea"/>
                <a:cs typeface="Times New Roman" pitchFamily="18" charset="0"/>
              </a:defRPr>
            </a:lvl5pPr>
            <a:lvl6pPr>
              <a:lnSpc>
                <a:spcPct val="100000"/>
              </a:lnSpc>
              <a:spcBef>
                <a:spcPts val="336"/>
              </a:spcBef>
              <a:buClrTx/>
              <a:defRPr sz="700" baseline="0">
                <a:solidFill>
                  <a:schemeClr val="accent4"/>
                </a:solidFill>
                <a:latin typeface="+mn-lt"/>
                <a:cs typeface="Times New Roman" pitchFamily="18" charset="0"/>
              </a:defRPr>
            </a:lvl6pPr>
            <a:lvl7pPr>
              <a:lnSpc>
                <a:spcPct val="100000"/>
              </a:lnSpc>
              <a:spcBef>
                <a:spcPts val="336"/>
              </a:spcBef>
              <a:buClrTx/>
              <a:defRPr sz="700" baseline="0">
                <a:solidFill>
                  <a:schemeClr val="accent4"/>
                </a:solidFill>
                <a:latin typeface="+mn-lt"/>
                <a:cs typeface="Times New Roman" pitchFamily="18" charset="0"/>
              </a:defRPr>
            </a:lvl7pPr>
            <a:lvl8pPr>
              <a:lnSpc>
                <a:spcPct val="100000"/>
              </a:lnSpc>
              <a:spcBef>
                <a:spcPts val="336"/>
              </a:spcBef>
              <a:buClrTx/>
              <a:defRPr sz="700" baseline="0">
                <a:solidFill>
                  <a:schemeClr val="accent4"/>
                </a:solidFill>
                <a:latin typeface="+mn-lt"/>
                <a:cs typeface="Times New Roman" pitchFamily="18" charset="0"/>
              </a:defRPr>
            </a:lvl8pPr>
            <a:lvl9pPr>
              <a:lnSpc>
                <a:spcPct val="100000"/>
              </a:lnSpc>
              <a:spcBef>
                <a:spcPts val="336"/>
              </a:spcBef>
              <a:buClrTx/>
              <a:defRPr sz="700" baseline="0">
                <a:solidFill>
                  <a:schemeClr val="accent4"/>
                </a:solidFill>
                <a:latin typeface="+mn-lt"/>
                <a:cs typeface="Times New Roman" pitchFamily="18" charset="0"/>
              </a:defRPr>
            </a:lvl9pPr>
          </a:lstStyle>
          <a:p>
            <a:pPr marL="177800" lvl="0" indent="-177800" algn="l" defTabSz="914400" rtl="0" eaLnBrk="1" latinLnBrk="0" hangingPunct="1">
              <a:lnSpc>
                <a:spcPct val="100000"/>
              </a:lnSpc>
              <a:spcBef>
                <a:spcPts val="600"/>
              </a:spcBef>
              <a:buClr>
                <a:srgbClr val="00338D"/>
              </a:buClr>
              <a:buFont typeface="Arial" pitchFamily="34" charset="0"/>
              <a:buNone/>
            </a:pPr>
            <a:r>
              <a:rPr lang="en-US" smtClean="0"/>
              <a:t>Click to edit Master text styles</a:t>
            </a:r>
          </a:p>
          <a:p>
            <a:pPr marL="177800" lvl="1" indent="-177800" algn="l" defTabSz="914400" rtl="0" eaLnBrk="1" latinLnBrk="0" hangingPunct="1">
              <a:lnSpc>
                <a:spcPct val="100000"/>
              </a:lnSpc>
              <a:spcBef>
                <a:spcPts val="600"/>
              </a:spcBef>
              <a:buClr>
                <a:srgbClr val="00338D"/>
              </a:buClr>
              <a:buFont typeface="Arial" pitchFamily="34" charset="0"/>
              <a:buNone/>
            </a:pPr>
            <a:r>
              <a:rPr lang="en-US" smtClean="0"/>
              <a:t>Second level</a:t>
            </a:r>
          </a:p>
          <a:p>
            <a:pPr marL="177800" lvl="2" indent="-177800" algn="l" defTabSz="914400" rtl="0" eaLnBrk="1" latinLnBrk="0" hangingPunct="1">
              <a:lnSpc>
                <a:spcPct val="100000"/>
              </a:lnSpc>
              <a:spcBef>
                <a:spcPts val="600"/>
              </a:spcBef>
              <a:buClr>
                <a:srgbClr val="00338D"/>
              </a:buClr>
              <a:buFont typeface="Arial" pitchFamily="34" charset="0"/>
              <a:buNone/>
            </a:pPr>
            <a:r>
              <a:rPr lang="en-US" smtClean="0"/>
              <a:t>Third level</a:t>
            </a:r>
          </a:p>
          <a:p>
            <a:pPr marL="177800" lvl="3" indent="-177800" algn="l" defTabSz="914400" rtl="0" eaLnBrk="1" latinLnBrk="0" hangingPunct="1">
              <a:lnSpc>
                <a:spcPct val="100000"/>
              </a:lnSpc>
              <a:spcBef>
                <a:spcPts val="600"/>
              </a:spcBef>
              <a:buClr>
                <a:srgbClr val="00338D"/>
              </a:buClr>
              <a:buFont typeface="Arial" pitchFamily="34" charset="0"/>
              <a:buNone/>
            </a:pPr>
            <a:r>
              <a:rPr lang="en-US" smtClean="0"/>
              <a:t>Fourth level</a:t>
            </a:r>
          </a:p>
          <a:p>
            <a:pPr marL="177800" lvl="4" indent="-177800" algn="l" defTabSz="914400" rtl="0" eaLnBrk="1" latinLnBrk="0" hangingPunct="1">
              <a:lnSpc>
                <a:spcPct val="100000"/>
              </a:lnSpc>
              <a:spcBef>
                <a:spcPts val="600"/>
              </a:spcBef>
              <a:buClr>
                <a:srgbClr val="00338D"/>
              </a:buClr>
              <a:buFont typeface="Arial" pitchFamily="34" charset="0"/>
              <a:buNone/>
            </a:pPr>
            <a:r>
              <a:rPr lang="en-US" smtClean="0"/>
              <a:t>Fifth level</a:t>
            </a:r>
            <a:endParaRPr lang="de-DE"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8" name="Object 7" hidden="1"/>
          <p:cNvGraphicFramePr>
            <a:graphicFrameLocks/>
          </p:cNvGraphicFramePr>
          <p:nvPr userDrawn="1">
            <p:extLst>
              <p:ext uri="{D42A27DB-BD31-4B8C-83A1-F6EECF244321}">
                <p14:modId xmlns="" xmlns:p14="http://schemas.microsoft.com/office/powerpoint/2010/main" val="1274872681"/>
              </p:ext>
            </p:extLst>
          </p:nvPr>
        </p:nvGraphicFramePr>
        <p:xfrm>
          <a:off x="1588" y="1588"/>
          <a:ext cx="1587" cy="1587"/>
        </p:xfrm>
        <a:graphic>
          <a:graphicData uri="http://schemas.openxmlformats.org/presentationml/2006/ole">
            <p:oleObj spid="_x0000_s1106" name="think-cell Slide" r:id="rId4" imgW="360" imgH="360" progId="TCLayout.ActiveDocument.1">
              <p:embed/>
            </p:oleObj>
          </a:graphicData>
        </a:graphic>
      </p:graphicFrame>
      <p:sp>
        <p:nvSpPr>
          <p:cNvPr id="7" name="Text Placeholder 6"/>
          <p:cNvSpPr>
            <a:spLocks noGrp="1"/>
          </p:cNvSpPr>
          <p:nvPr>
            <p:ph type="body" sz="quarter" idx="10"/>
            <p:custDataLst>
              <p:tags r:id="rId2"/>
            </p:custDataLst>
          </p:nvPr>
        </p:nvSpPr>
        <p:spPr bwMode="gray">
          <a:xfrm>
            <a:off x="272480" y="1268760"/>
            <a:ext cx="9361040" cy="4896000"/>
          </a:xfrm>
          <a:prstGeom prst="rect">
            <a:avLst/>
          </a:prstGeom>
        </p:spPr>
        <p:txBody>
          <a:bodyPr/>
          <a:lstStyle>
            <a:lvl1pPr>
              <a:defRPr lang="de-DE" sz="1400" b="0" kern="1200" noProof="0" dirty="0" smtClean="0">
                <a:solidFill>
                  <a:schemeClr val="tx1"/>
                </a:solidFill>
                <a:latin typeface="+mn-lt"/>
                <a:ea typeface="+mn-ea"/>
                <a:cs typeface="+mn-cs"/>
              </a:defRPr>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sz="1200"/>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9"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12" name="Text Placeholder 9"/>
          <p:cNvSpPr>
            <a:spLocks noGrp="1"/>
          </p:cNvSpPr>
          <p:nvPr>
            <p:ph type="body" sz="quarter" idx="12"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13" name="Text Placeholder 9"/>
          <p:cNvSpPr>
            <a:spLocks noGrp="1"/>
          </p:cNvSpPr>
          <p:nvPr>
            <p:ph type="body" sz="quarter" idx="13"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5" name="Text Placeholder 6"/>
          <p:cNvSpPr>
            <a:spLocks noGrp="1"/>
          </p:cNvSpPr>
          <p:nvPr>
            <p:ph type="body" sz="quarter" idx="10"/>
          </p:nvPr>
        </p:nvSpPr>
        <p:spPr bwMode="gray">
          <a:xfrm>
            <a:off x="272480" y="1268760"/>
            <a:ext cx="4609083" cy="4896544"/>
          </a:xfrm>
          <a:prstGeom prst="rect">
            <a:avLst/>
          </a:prstGeom>
        </p:spPr>
        <p:txBody>
          <a:bodyPr/>
          <a:lstStyle>
            <a:lvl1pPr>
              <a:defRPr lang="de-DE" sz="1400" b="0" kern="1200" noProof="0" dirty="0" smtClean="0">
                <a:solidFill>
                  <a:schemeClr val="tx1"/>
                </a:solidFill>
                <a:latin typeface="+mn-lt"/>
                <a:ea typeface="+mn-ea"/>
                <a:cs typeface="+mn-cs"/>
              </a:defRPr>
            </a:lvl1pPr>
            <a:lvl2pPr>
              <a:defRPr sz="1200"/>
            </a:lvl2pPr>
            <a:lvl3pPr>
              <a:defRPr lang="de-DE" sz="1200" b="0" kern="1200" noProof="0" dirty="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9" name="Text Placeholder 6"/>
          <p:cNvSpPr>
            <a:spLocks noGrp="1"/>
          </p:cNvSpPr>
          <p:nvPr>
            <p:ph type="body" sz="quarter" idx="11"/>
          </p:nvPr>
        </p:nvSpPr>
        <p:spPr bwMode="gray">
          <a:xfrm>
            <a:off x="5023867" y="1268760"/>
            <a:ext cx="4609083" cy="4896544"/>
          </a:xfrm>
          <a:prstGeom prst="rect">
            <a:avLst/>
          </a:prstGeom>
        </p:spPr>
        <p:txBody>
          <a:bodyPr/>
          <a:lstStyle>
            <a:lvl1pPr>
              <a:defRPr lang="de-DE" sz="1400" b="0" kern="1200" noProof="0" dirty="0" smtClean="0">
                <a:solidFill>
                  <a:schemeClr val="tx1"/>
                </a:solidFill>
                <a:latin typeface="+mn-lt"/>
                <a:ea typeface="+mn-ea"/>
                <a:cs typeface="+mn-cs"/>
              </a:defRPr>
            </a:lvl1pPr>
            <a:lvl2pPr>
              <a:defRPr sz="1200"/>
            </a:lvl2pPr>
            <a:lvl3pPr>
              <a:defRPr lang="de-DE" sz="1200" b="0" kern="1200" noProof="0" dirty="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8"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7" name="Text Placeholder 9"/>
          <p:cNvSpPr>
            <a:spLocks noGrp="1"/>
          </p:cNvSpPr>
          <p:nvPr>
            <p:ph type="body" sz="quarter" idx="12"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10" name="Text Placeholder 9"/>
          <p:cNvSpPr>
            <a:spLocks noGrp="1"/>
          </p:cNvSpPr>
          <p:nvPr>
            <p:ph type="body" sz="quarter" idx="13"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5" name="Text Placeholder 6"/>
          <p:cNvSpPr>
            <a:spLocks noGrp="1"/>
          </p:cNvSpPr>
          <p:nvPr>
            <p:ph type="body" sz="quarter" idx="10"/>
          </p:nvPr>
        </p:nvSpPr>
        <p:spPr bwMode="gray">
          <a:xfrm>
            <a:off x="272480" y="1268760"/>
            <a:ext cx="4609083" cy="2376140"/>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9" name="Text Placeholder 6"/>
          <p:cNvSpPr>
            <a:spLocks noGrp="1"/>
          </p:cNvSpPr>
          <p:nvPr>
            <p:ph type="body" sz="quarter" idx="11"/>
          </p:nvPr>
        </p:nvSpPr>
        <p:spPr bwMode="gray">
          <a:xfrm>
            <a:off x="5023867" y="1268760"/>
            <a:ext cx="4609083" cy="2376140"/>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buNone/>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7" name="Text Placeholder 6"/>
          <p:cNvSpPr>
            <a:spLocks noGrp="1"/>
          </p:cNvSpPr>
          <p:nvPr>
            <p:ph type="body" sz="quarter" idx="12"/>
          </p:nvPr>
        </p:nvSpPr>
        <p:spPr bwMode="gray">
          <a:xfrm>
            <a:off x="272480" y="3789363"/>
            <a:ext cx="4609083" cy="2376140"/>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8" name="Text Placeholder 6"/>
          <p:cNvSpPr>
            <a:spLocks noGrp="1"/>
          </p:cNvSpPr>
          <p:nvPr>
            <p:ph type="body" sz="quarter" idx="13"/>
          </p:nvPr>
        </p:nvSpPr>
        <p:spPr bwMode="gray">
          <a:xfrm>
            <a:off x="5023867" y="3789363"/>
            <a:ext cx="4609083" cy="2376140"/>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10"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11" name="Text Placeholder 9"/>
          <p:cNvSpPr>
            <a:spLocks noGrp="1"/>
          </p:cNvSpPr>
          <p:nvPr>
            <p:ph type="body" sz="quarter" idx="14"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12" name="Text Placeholder 9"/>
          <p:cNvSpPr>
            <a:spLocks noGrp="1"/>
          </p:cNvSpPr>
          <p:nvPr>
            <p:ph type="body" sz="quarter" idx="15"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wo Charts One Text">
    <p:spTree>
      <p:nvGrpSpPr>
        <p:cNvPr id="1" name=""/>
        <p:cNvGrpSpPr/>
        <p:nvPr/>
      </p:nvGrpSpPr>
      <p:grpSpPr>
        <a:xfrm>
          <a:off x="0" y="0"/>
          <a:ext cx="0" cy="0"/>
          <a:chOff x="0" y="0"/>
          <a:chExt cx="0" cy="0"/>
        </a:xfrm>
      </p:grpSpPr>
      <p:sp>
        <p:nvSpPr>
          <p:cNvPr id="9" name="Text Placeholder 6"/>
          <p:cNvSpPr>
            <a:spLocks noGrp="1"/>
          </p:cNvSpPr>
          <p:nvPr>
            <p:ph type="body" sz="quarter" idx="11"/>
          </p:nvPr>
        </p:nvSpPr>
        <p:spPr bwMode="gray">
          <a:xfrm>
            <a:off x="5023867" y="1268760"/>
            <a:ext cx="4609083" cy="4896544"/>
          </a:xfrm>
          <a:prstGeom prst="rect">
            <a:avLst/>
          </a:prstGeom>
        </p:spPr>
        <p:txBody>
          <a:bodyPr/>
          <a:lstStyle>
            <a:lvl1pPr>
              <a:defRPr sz="1200"/>
            </a:lvl1pPr>
            <a:lvl2pPr>
              <a:defRPr sz="1200"/>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a:defRPr sz="1200"/>
            </a:lvl4pPr>
            <a:lvl5pPr>
              <a:defRPr sz="1200"/>
            </a:lvl5pPr>
            <a:lvl6pPr>
              <a:defRPr sz="1200"/>
            </a:lvl6pPr>
            <a:lvl7pPr>
              <a:defRPr sz="1200"/>
            </a:lvl7pPr>
            <a:lvl8pPr>
              <a:defRPr sz="1200"/>
            </a:lvl8pPr>
            <a:lvl9pPr>
              <a:defRPr sz="1200"/>
            </a:lvl9pPr>
          </a:lstStyle>
          <a:p>
            <a:pPr marL="177800" lvl="0" indent="-177800" algn="l" defTabSz="914400" rtl="0" eaLnBrk="1" latinLnBrk="0" hangingPunct="1">
              <a:lnSpc>
                <a:spcPct val="100000"/>
              </a:lnSpc>
              <a:spcBef>
                <a:spcPts val="600"/>
              </a:spcBef>
              <a:buClr>
                <a:srgbClr val="00338D"/>
              </a:buClr>
              <a:buFont typeface="Arial" pitchFamily="34" charset="0"/>
              <a:buChar char="■"/>
            </a:pPr>
            <a:r>
              <a:rPr lang="en-US" smtClean="0"/>
              <a:t>Click to edit Master text styles</a:t>
            </a:r>
          </a:p>
        </p:txBody>
      </p:sp>
      <p:sp>
        <p:nvSpPr>
          <p:cNvPr id="8" name="Chart Placeholder 7"/>
          <p:cNvSpPr>
            <a:spLocks noGrp="1"/>
          </p:cNvSpPr>
          <p:nvPr>
            <p:ph type="chart" sz="quarter" idx="12"/>
          </p:nvPr>
        </p:nvSpPr>
        <p:spPr bwMode="gray">
          <a:xfrm>
            <a:off x="273050" y="1268413"/>
            <a:ext cx="4608513" cy="2376487"/>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Clr>
                <a:srgbClr val="00338D"/>
              </a:buClr>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chart</a:t>
            </a:r>
            <a:endParaRPr lang="de-DE" dirty="0"/>
          </a:p>
        </p:txBody>
      </p:sp>
      <p:sp>
        <p:nvSpPr>
          <p:cNvPr id="10" name="Chart Placeholder 7"/>
          <p:cNvSpPr>
            <a:spLocks noGrp="1"/>
          </p:cNvSpPr>
          <p:nvPr>
            <p:ph type="chart" sz="quarter" idx="13"/>
          </p:nvPr>
        </p:nvSpPr>
        <p:spPr bwMode="gray">
          <a:xfrm>
            <a:off x="273050" y="3789363"/>
            <a:ext cx="4608513" cy="2376487"/>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600"/>
              </a:spcBef>
              <a:buClr>
                <a:srgbClr val="00338D"/>
              </a:buClr>
              <a:buFont typeface="Arial" pitchFamily="34" charset="0"/>
              <a:buNone/>
              <a:defRPr lang="de-DE" sz="1200" b="1" kern="1200" noProof="0" dirty="0">
                <a:solidFill>
                  <a:srgbClr val="00338D"/>
                </a:solidFill>
                <a:latin typeface="Arial"/>
                <a:ea typeface="+mn-ea"/>
                <a:cs typeface="Arial" pitchFamily="34" charset="0"/>
              </a:defRPr>
            </a:lvl1pPr>
          </a:lstStyle>
          <a:p>
            <a:r>
              <a:rPr lang="en-US" smtClean="0"/>
              <a:t>Click icon to add chart</a:t>
            </a:r>
            <a:endParaRPr lang="de-DE" dirty="0"/>
          </a:p>
        </p:txBody>
      </p:sp>
      <p:sp>
        <p:nvSpPr>
          <p:cNvPr id="11"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r>
              <a:rPr lang="en-US" smtClean="0"/>
              <a:t>Click to edit Master title style</a:t>
            </a:r>
            <a:endParaRPr lang="de-DE" dirty="0"/>
          </a:p>
        </p:txBody>
      </p:sp>
      <p:sp>
        <p:nvSpPr>
          <p:cNvPr id="12" name="Text Placeholder 9"/>
          <p:cNvSpPr>
            <a:spLocks noGrp="1"/>
          </p:cNvSpPr>
          <p:nvPr>
            <p:ph type="body" sz="quarter" idx="14" hasCustomPrompt="1"/>
          </p:nvPr>
        </p:nvSpPr>
        <p:spPr>
          <a:xfrm>
            <a:off x="273050" y="6201324"/>
            <a:ext cx="4611539"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1</a:t>
            </a:r>
            <a:endParaRPr lang="de-DE" dirty="0"/>
          </a:p>
        </p:txBody>
      </p:sp>
      <p:sp>
        <p:nvSpPr>
          <p:cNvPr id="13" name="Text Placeholder 9"/>
          <p:cNvSpPr>
            <a:spLocks noGrp="1"/>
          </p:cNvSpPr>
          <p:nvPr>
            <p:ph type="body" sz="quarter" idx="15" hasCustomPrompt="1"/>
          </p:nvPr>
        </p:nvSpPr>
        <p:spPr>
          <a:xfrm>
            <a:off x="5009607" y="6201324"/>
            <a:ext cx="2785654" cy="144000"/>
          </a:xfrm>
          <a:prstGeom prst="rect">
            <a:avLst/>
          </a:prstGeom>
        </p:spPr>
        <p:txBody>
          <a:bodyPr anchor="ctr"/>
          <a:lstStyle>
            <a:lvl1pPr>
              <a:buNone/>
              <a:defRPr sz="800" b="0" baseline="0">
                <a:solidFill>
                  <a:schemeClr val="tx1"/>
                </a:solidFill>
              </a:defRPr>
            </a:lvl1pPr>
          </a:lstStyle>
          <a:p>
            <a:pPr lvl="0"/>
            <a:r>
              <a:rPr lang="de-DE" dirty="0" err="1" smtClean="0"/>
              <a:t>Footnote</a:t>
            </a:r>
            <a:r>
              <a:rPr lang="de-DE" dirty="0" smtClean="0"/>
              <a:t> 2</a:t>
            </a:r>
            <a:endParaRPr lang="de-DE"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8" name="Freeform 23"/>
          <p:cNvSpPr>
            <a:spLocks noChangeAspect="1" noEditPoints="1"/>
          </p:cNvSpPr>
          <p:nvPr/>
        </p:nvSpPr>
        <p:spPr bwMode="gray">
          <a:xfrm>
            <a:off x="0" y="0"/>
            <a:ext cx="9904413" cy="1052513"/>
          </a:xfrm>
          <a:custGeom>
            <a:avLst/>
            <a:gdLst/>
            <a:ahLst/>
            <a:cxnLst>
              <a:cxn ang="0">
                <a:pos x="6239" y="0"/>
              </a:cxn>
              <a:cxn ang="0">
                <a:pos x="0" y="0"/>
              </a:cxn>
              <a:cxn ang="0">
                <a:pos x="0" y="663"/>
              </a:cxn>
              <a:cxn ang="0">
                <a:pos x="6067" y="663"/>
              </a:cxn>
              <a:cxn ang="0">
                <a:pos x="6239" y="0"/>
              </a:cxn>
              <a:cxn ang="0">
                <a:pos x="6239" y="0"/>
              </a:cxn>
              <a:cxn ang="0">
                <a:pos x="6239" y="0"/>
              </a:cxn>
            </a:cxnLst>
            <a:rect l="0" t="0" r="r" b="b"/>
            <a:pathLst>
              <a:path w="6239" h="663">
                <a:moveTo>
                  <a:pt x="6239" y="0"/>
                </a:moveTo>
                <a:lnTo>
                  <a:pt x="0" y="0"/>
                </a:lnTo>
                <a:lnTo>
                  <a:pt x="0" y="663"/>
                </a:lnTo>
                <a:lnTo>
                  <a:pt x="6067" y="663"/>
                </a:lnTo>
                <a:lnTo>
                  <a:pt x="6239" y="0"/>
                </a:lnTo>
                <a:close/>
                <a:moveTo>
                  <a:pt x="6239" y="0"/>
                </a:moveTo>
                <a:lnTo>
                  <a:pt x="6239"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de-DE" sz="1800" kern="1200" dirty="0">
              <a:solidFill>
                <a:schemeClr val="tx1"/>
              </a:solidFill>
              <a:latin typeface="+mn-lt"/>
              <a:ea typeface="+mn-ea"/>
              <a:cs typeface="+mn-cs"/>
            </a:endParaRPr>
          </a:p>
        </p:txBody>
      </p:sp>
      <p:sp>
        <p:nvSpPr>
          <p:cNvPr id="55" name="Title Placeholder 54"/>
          <p:cNvSpPr>
            <a:spLocks noGrp="1"/>
          </p:cNvSpPr>
          <p:nvPr>
            <p:ph type="title"/>
          </p:nvPr>
        </p:nvSpPr>
        <p:spPr bwMode="gray">
          <a:xfrm>
            <a:off x="272480" y="108885"/>
            <a:ext cx="9361040" cy="7920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lgn="l" rtl="0" eaLnBrk="1" fontAlgn="base" hangingPunct="1">
              <a:spcBef>
                <a:spcPct val="40000"/>
              </a:spcBef>
              <a:spcAft>
                <a:spcPct val="0"/>
              </a:spcAft>
            </a:pPr>
            <a:endParaRPr lang="de-DE" dirty="0"/>
          </a:p>
        </p:txBody>
      </p:sp>
      <p:sp>
        <p:nvSpPr>
          <p:cNvPr id="32" name="Line 10"/>
          <p:cNvSpPr>
            <a:spLocks noChangeShapeType="1"/>
          </p:cNvSpPr>
          <p:nvPr/>
        </p:nvSpPr>
        <p:spPr bwMode="gray">
          <a:xfrm>
            <a:off x="273050" y="6381328"/>
            <a:ext cx="8568382" cy="0"/>
          </a:xfrm>
          <a:prstGeom prst="line">
            <a:avLst/>
          </a:prstGeom>
          <a:noFill/>
          <a:ln w="3175">
            <a:solidFill>
              <a:srgbClr val="000000"/>
            </a:solidFill>
            <a:round/>
            <a:headEnd/>
            <a:tailEnd/>
          </a:ln>
        </p:spPr>
        <p:txBody>
          <a:bodyPr/>
          <a:lstStyle/>
          <a:p>
            <a:pPr algn="ctr">
              <a:spcBef>
                <a:spcPct val="50000"/>
              </a:spcBef>
              <a:defRPr/>
            </a:pPr>
            <a:endParaRPr lang="de-DE" dirty="0"/>
          </a:p>
        </p:txBody>
      </p:sp>
      <p:sp>
        <p:nvSpPr>
          <p:cNvPr id="34" name="Rectangle 33"/>
          <p:cNvSpPr/>
          <p:nvPr/>
        </p:nvSpPr>
        <p:spPr bwMode="gray">
          <a:xfrm>
            <a:off x="9137617" y="6349380"/>
            <a:ext cx="503237" cy="280987"/>
          </a:xfrm>
          <a:prstGeom prst="rect">
            <a:avLst/>
          </a:prstGeom>
          <a:ln>
            <a:miter lim="800000"/>
            <a:headEnd/>
            <a:tailEnd/>
          </a:ln>
        </p:spPr>
        <p:txBody>
          <a:bodyPr lIns="72000" tIns="0" rIns="0" bIns="0"/>
          <a:lstStyle/>
          <a:p>
            <a:pPr lvl="0" algn="r">
              <a:spcBef>
                <a:spcPct val="40000"/>
              </a:spcBef>
            </a:pPr>
            <a:fld id="{6BA71C0A-9F0F-41ED-AE97-DBF05B351E59}" type="slidenum">
              <a:rPr lang="de-DE" sz="900" smtClean="0">
                <a:solidFill>
                  <a:srgbClr val="00338D"/>
                </a:solidFill>
                <a:latin typeface="Arial"/>
              </a:rPr>
              <a:pPr lvl="0" algn="r">
                <a:spcBef>
                  <a:spcPct val="40000"/>
                </a:spcBef>
              </a:pPr>
              <a:t>‹#›</a:t>
            </a:fld>
            <a:endParaRPr lang="de-DE" sz="900" dirty="0">
              <a:solidFill>
                <a:srgbClr val="00338D"/>
              </a:solidFill>
              <a:latin typeface="Arial"/>
            </a:endParaRPr>
          </a:p>
        </p:txBody>
      </p:sp>
      <p:grpSp>
        <p:nvGrpSpPr>
          <p:cNvPr id="20" name="Group 19"/>
          <p:cNvGrpSpPr/>
          <p:nvPr/>
        </p:nvGrpSpPr>
        <p:grpSpPr bwMode="gray">
          <a:xfrm>
            <a:off x="1" y="1052736"/>
            <a:ext cx="9905999" cy="5328591"/>
            <a:chOff x="1" y="1052736"/>
            <a:chExt cx="9905999" cy="5328591"/>
          </a:xfrm>
          <a:noFill/>
        </p:grpSpPr>
        <p:sp>
          <p:nvSpPr>
            <p:cNvPr id="16" name="Rectangle 22"/>
            <p:cNvSpPr>
              <a:spLocks noChangeArrowheads="1"/>
            </p:cNvSpPr>
            <p:nvPr/>
          </p:nvSpPr>
          <p:spPr bwMode="gray">
            <a:xfrm>
              <a:off x="9633520" y="3680619"/>
              <a:ext cx="272480" cy="73025"/>
            </a:xfrm>
            <a:prstGeom prst="rect">
              <a:avLst/>
            </a:prstGeom>
            <a:grpFill/>
            <a:ln w="9525" algn="ctr">
              <a:noFill/>
              <a:miter lim="800000"/>
              <a:headEnd/>
              <a:tailEnd/>
            </a:ln>
            <a:effectLst/>
          </p:spPr>
          <p:txBody>
            <a:bodyPr/>
            <a:lstStyle/>
            <a:p>
              <a:endParaRPr lang="de-DE" dirty="0"/>
            </a:p>
          </p:txBody>
        </p:sp>
        <p:sp>
          <p:nvSpPr>
            <p:cNvPr id="17" name="Rectangle 23"/>
            <p:cNvSpPr>
              <a:spLocks noChangeArrowheads="1"/>
            </p:cNvSpPr>
            <p:nvPr/>
          </p:nvSpPr>
          <p:spPr bwMode="gray">
            <a:xfrm>
              <a:off x="1" y="3680619"/>
              <a:ext cx="272480" cy="73025"/>
            </a:xfrm>
            <a:prstGeom prst="rect">
              <a:avLst/>
            </a:prstGeom>
            <a:grpFill/>
            <a:ln w="9525" algn="ctr">
              <a:noFill/>
              <a:miter lim="800000"/>
              <a:headEnd/>
              <a:tailEnd/>
            </a:ln>
            <a:effectLst/>
          </p:spPr>
          <p:txBody>
            <a:bodyPr/>
            <a:lstStyle/>
            <a:p>
              <a:endParaRPr lang="de-DE" dirty="0"/>
            </a:p>
          </p:txBody>
        </p:sp>
        <p:sp>
          <p:nvSpPr>
            <p:cNvPr id="18" name="Rectangle 24"/>
            <p:cNvSpPr>
              <a:spLocks noChangeArrowheads="1"/>
            </p:cNvSpPr>
            <p:nvPr/>
          </p:nvSpPr>
          <p:spPr bwMode="gray">
            <a:xfrm rot="16200000">
              <a:off x="4845050" y="1124173"/>
              <a:ext cx="215900" cy="73025"/>
            </a:xfrm>
            <a:prstGeom prst="rect">
              <a:avLst/>
            </a:prstGeom>
            <a:grpFill/>
            <a:ln w="9525" algn="ctr">
              <a:noFill/>
              <a:miter lim="800000"/>
              <a:headEnd/>
              <a:tailEnd/>
            </a:ln>
            <a:effectLst/>
          </p:spPr>
          <p:txBody>
            <a:bodyPr/>
            <a:lstStyle/>
            <a:p>
              <a:endParaRPr lang="de-DE" dirty="0"/>
            </a:p>
          </p:txBody>
        </p:sp>
        <p:sp>
          <p:nvSpPr>
            <p:cNvPr id="19" name="Rectangle 34"/>
            <p:cNvSpPr>
              <a:spLocks noChangeArrowheads="1"/>
            </p:cNvSpPr>
            <p:nvPr/>
          </p:nvSpPr>
          <p:spPr bwMode="gray">
            <a:xfrm rot="16200000">
              <a:off x="4844989" y="6236803"/>
              <a:ext cx="216023" cy="73025"/>
            </a:xfrm>
            <a:prstGeom prst="rect">
              <a:avLst/>
            </a:prstGeom>
            <a:grpFill/>
            <a:ln w="9525" algn="ctr">
              <a:noFill/>
              <a:miter lim="800000"/>
              <a:headEnd/>
              <a:tailEnd/>
            </a:ln>
            <a:effectLst/>
          </p:spPr>
          <p:txBody>
            <a:bodyPr/>
            <a:lstStyle/>
            <a:p>
              <a:endParaRPr lang="de-DE" dirty="0"/>
            </a:p>
          </p:txBody>
        </p:sp>
      </p:grpSp>
      <p:pic>
        <p:nvPicPr>
          <p:cNvPr id="1026" name="Picture 2" descr="V:\Verschiedenes\2012\brainnet\BrainNet_Logo2002095.emf"/>
          <p:cNvPicPr>
            <a:picLocks noChangeAspect="1" noChangeArrowheads="1"/>
          </p:cNvPicPr>
          <p:nvPr/>
        </p:nvPicPr>
        <p:blipFill>
          <a:blip r:embed="rId23" cstate="print"/>
          <a:srcRect/>
          <a:stretch>
            <a:fillRect/>
          </a:stretch>
        </p:blipFill>
        <p:spPr bwMode="auto">
          <a:xfrm>
            <a:off x="8163078" y="6460955"/>
            <a:ext cx="709119" cy="223200"/>
          </a:xfrm>
          <a:prstGeom prst="rect">
            <a:avLst/>
          </a:prstGeom>
          <a:noFill/>
        </p:spPr>
      </p:pic>
      <p:pic>
        <p:nvPicPr>
          <p:cNvPr id="1027" name="Picture 3" descr="V:\KIDS\KPMG_Brand_2011\12_Logos\KPMG_ohne_Strapline\Illustrator\KPMG_NoCP_RGB.emf"/>
          <p:cNvPicPr>
            <a:picLocks noChangeAspect="1" noChangeArrowheads="1"/>
          </p:cNvPicPr>
          <p:nvPr/>
        </p:nvPicPr>
        <p:blipFill>
          <a:blip r:embed="rId24" cstate="print"/>
          <a:srcRect/>
          <a:stretch>
            <a:fillRect/>
          </a:stretch>
        </p:blipFill>
        <p:spPr bwMode="auto">
          <a:xfrm>
            <a:off x="257240" y="6482555"/>
            <a:ext cx="450673" cy="180000"/>
          </a:xfrm>
          <a:prstGeom prst="rect">
            <a:avLst/>
          </a:prstGeom>
          <a:noFill/>
        </p:spPr>
      </p:pic>
      <p:sp>
        <p:nvSpPr>
          <p:cNvPr id="99" name="Text Placeholder 55"/>
          <p:cNvSpPr>
            <a:spLocks noGrp="1"/>
          </p:cNvSpPr>
          <p:nvPr>
            <p:ph type="body" idx="1"/>
          </p:nvPr>
        </p:nvSpPr>
        <p:spPr bwMode="gray">
          <a:xfrm>
            <a:off x="272480" y="1268760"/>
            <a:ext cx="9361040" cy="4896544"/>
          </a:xfrm>
          <a:prstGeom prst="rect">
            <a:avLst/>
          </a:prstGeom>
        </p:spPr>
        <p:txBody>
          <a:bodyPr vert="horz" lIns="0" tIns="0" rIns="0" bIns="0" rtlCol="0">
            <a:noAutofit/>
          </a:bodyPr>
          <a:lstStyle/>
          <a:p>
            <a:pPr lvl="0"/>
            <a:r>
              <a:rPr lang="de-DE" dirty="0" smtClean="0"/>
              <a:t>Textmasterformate durch Klicken bearbeiten</a:t>
            </a:r>
          </a:p>
        </p:txBody>
      </p:sp>
      <p:sp>
        <p:nvSpPr>
          <p:cNvPr id="22" name="Text Box 8"/>
          <p:cNvSpPr txBox="1">
            <a:spLocks noChangeArrowheads="1"/>
          </p:cNvSpPr>
          <p:nvPr>
            <p:custDataLst>
              <p:tags r:id="rId22"/>
            </p:custDataLst>
          </p:nvPr>
        </p:nvSpPr>
        <p:spPr bwMode="gray">
          <a:xfrm>
            <a:off x="1118567" y="6381328"/>
            <a:ext cx="6480720" cy="386635"/>
          </a:xfrm>
          <a:prstGeom prst="rect">
            <a:avLst/>
          </a:prstGeom>
          <a:noFill/>
          <a:ln w="9525">
            <a:noFill/>
            <a:miter lim="800000"/>
            <a:headEnd/>
            <a:tailEnd/>
          </a:ln>
          <a:effectLst/>
        </p:spPr>
        <p:txBody>
          <a:bodyPr wrap="square" lIns="0" tIns="72000" rIns="0" bIns="0">
            <a:spAutoFit/>
          </a:bodyPr>
          <a:lstStyle/>
          <a:p>
            <a:pPr algn="l">
              <a:spcBef>
                <a:spcPct val="40000"/>
              </a:spcBef>
            </a:pPr>
            <a:r>
              <a:rPr lang="de-DE" sz="600" smtClean="0">
                <a:solidFill>
                  <a:srgbClr val="00338D"/>
                </a:solidFill>
                <a:latin typeface="Arial"/>
              </a:rPr>
              <a:t>© 2013 KPMG AG Wirtschaftsprüfungsgesellschaft, a subsidiary of KPMG Europe LLP and a member firm of the KPMG network of independent member firms affiliated with KPMG International Cooperative ("KPMG International"), a Swiss entity. All rights reserved.</a:t>
            </a:r>
          </a:p>
          <a:p>
            <a:pPr algn="l">
              <a:spcBef>
                <a:spcPct val="40000"/>
              </a:spcBef>
            </a:pPr>
            <a:endParaRPr lang="de-DE" sz="600" dirty="0">
              <a:solidFill>
                <a:srgbClr val="00338D"/>
              </a:solidFill>
              <a:latin typeface="Arial"/>
            </a:endParaRPr>
          </a:p>
        </p:txBody>
      </p:sp>
    </p:spTree>
  </p:cSld>
  <p:clrMap bg1="lt1" tx1="dk1" bg2="lt2" tx2="dk2" accent1="accent1" accent2="accent2" accent3="accent3" accent4="accent4" accent5="accent5" accent6="accent6" hlink="hlink" folHlink="folHlink"/>
  <p:sldLayoutIdLst>
    <p:sldLayoutId id="2147483801" r:id="rId1"/>
    <p:sldLayoutId id="2147483786" r:id="rId2"/>
    <p:sldLayoutId id="2147483788" r:id="rId3"/>
    <p:sldLayoutId id="2147483789" r:id="rId4"/>
    <p:sldLayoutId id="2147483790" r:id="rId5"/>
    <p:sldLayoutId id="2147483775" r:id="rId6"/>
    <p:sldLayoutId id="2147483776" r:id="rId7"/>
    <p:sldLayoutId id="2147483791" r:id="rId8"/>
    <p:sldLayoutId id="2147483792" r:id="rId9"/>
    <p:sldLayoutId id="2147483793" r:id="rId10"/>
    <p:sldLayoutId id="2147483785" r:id="rId11"/>
    <p:sldLayoutId id="2147483794" r:id="rId12"/>
    <p:sldLayoutId id="2147483799" r:id="rId13"/>
    <p:sldLayoutId id="2147483777" r:id="rId14"/>
    <p:sldLayoutId id="2147483811" r:id="rId15"/>
    <p:sldLayoutId id="2147483812" r:id="rId16"/>
    <p:sldLayoutId id="2147483813" r:id="rId17"/>
    <p:sldLayoutId id="2147483784" r:id="rId18"/>
    <p:sldLayoutId id="2147483814" r:id="rId19"/>
    <p:sldLayoutId id="2147483836" r:id="rId20"/>
  </p:sldLayoutIdLst>
  <p:transition/>
  <p:hf hdr="0" ftr="0" dt="0"/>
  <p:txStyles>
    <p:titleStyle>
      <a:lvl1pPr algn="l" defTabSz="914400" rtl="0" eaLnBrk="1" latinLnBrk="0" hangingPunct="1">
        <a:spcBef>
          <a:spcPts val="0"/>
        </a:spcBef>
        <a:buNone/>
        <a:defRPr lang="en-GB" sz="1800" b="1" kern="1200" noProof="0" dirty="0">
          <a:solidFill>
            <a:schemeClr val="bg1"/>
          </a:solidFill>
          <a:latin typeface="Arial"/>
          <a:ea typeface="+mj-ea"/>
          <a:cs typeface="+mj-cs"/>
        </a:defRPr>
      </a:lvl1pPr>
      <a:lvl2pPr eaLnBrk="1" hangingPunct="1">
        <a:defRPr lang="en-GB" sz="1800" b="1" kern="1200" noProof="0" dirty="0">
          <a:solidFill>
            <a:schemeClr val="bg1"/>
          </a:solidFill>
          <a:latin typeface="+mj-lt"/>
          <a:ea typeface="+mj-ea"/>
          <a:cs typeface="+mj-cs"/>
        </a:defRPr>
      </a:lvl2pPr>
      <a:lvl3pPr eaLnBrk="1" hangingPunct="1">
        <a:defRPr lang="en-GB" sz="1800" b="1" kern="1200" noProof="0" dirty="0">
          <a:solidFill>
            <a:schemeClr val="bg1"/>
          </a:solidFill>
          <a:latin typeface="+mj-lt"/>
          <a:ea typeface="+mj-ea"/>
          <a:cs typeface="+mj-cs"/>
        </a:defRPr>
      </a:lvl3pPr>
      <a:lvl4pPr eaLnBrk="1" hangingPunct="1">
        <a:defRPr lang="en-GB" sz="1800" b="1" kern="1200" noProof="0" dirty="0">
          <a:solidFill>
            <a:schemeClr val="bg1"/>
          </a:solidFill>
          <a:latin typeface="+mj-lt"/>
          <a:ea typeface="+mj-ea"/>
          <a:cs typeface="+mj-cs"/>
        </a:defRPr>
      </a:lvl4pPr>
      <a:lvl5pPr eaLnBrk="1" hangingPunct="1">
        <a:defRPr lang="en-GB" sz="1800" b="1" kern="1200" noProof="0" dirty="0">
          <a:solidFill>
            <a:schemeClr val="bg1"/>
          </a:solidFill>
          <a:latin typeface="+mj-lt"/>
          <a:ea typeface="+mj-ea"/>
          <a:cs typeface="+mj-cs"/>
        </a:defRPr>
      </a:lvl5pPr>
      <a:lvl6pPr eaLnBrk="1" hangingPunct="1">
        <a:defRPr lang="en-GB" sz="1800" b="1" kern="1200" noProof="0" dirty="0">
          <a:solidFill>
            <a:schemeClr val="bg1"/>
          </a:solidFill>
          <a:latin typeface="+mj-lt"/>
          <a:ea typeface="+mj-ea"/>
          <a:cs typeface="+mj-cs"/>
        </a:defRPr>
      </a:lvl6pPr>
      <a:lvl7pPr eaLnBrk="1" hangingPunct="1">
        <a:defRPr lang="en-GB" sz="1800" b="1" kern="1200" noProof="0" dirty="0">
          <a:solidFill>
            <a:schemeClr val="bg1"/>
          </a:solidFill>
          <a:latin typeface="+mj-lt"/>
          <a:ea typeface="+mj-ea"/>
          <a:cs typeface="+mj-cs"/>
        </a:defRPr>
      </a:lvl7pPr>
      <a:lvl8pPr eaLnBrk="1" hangingPunct="1">
        <a:defRPr lang="en-GB" sz="1800" b="1" kern="1200" noProof="0" dirty="0">
          <a:solidFill>
            <a:schemeClr val="bg1"/>
          </a:solidFill>
          <a:latin typeface="+mj-lt"/>
          <a:ea typeface="+mj-ea"/>
          <a:cs typeface="+mj-cs"/>
        </a:defRPr>
      </a:lvl8pPr>
      <a:lvl9pPr eaLnBrk="1" hangingPunct="1">
        <a:defRPr lang="en-GB" sz="1800" b="1" kern="1200" noProof="0" dirty="0">
          <a:solidFill>
            <a:schemeClr val="bg1"/>
          </a:solidFill>
          <a:latin typeface="+mj-lt"/>
          <a:ea typeface="+mj-ea"/>
          <a:cs typeface="+mj-cs"/>
        </a:defRPr>
      </a:lvl9pPr>
    </p:titleStyle>
    <p:bodyStyle>
      <a:lvl1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1pPr>
      <a:lvl2pPr marL="0" indent="0" algn="l" defTabSz="914400" rtl="0" eaLnBrk="1" latinLnBrk="0" hangingPunct="1">
        <a:lnSpc>
          <a:spcPct val="100000"/>
        </a:lnSpc>
        <a:spcBef>
          <a:spcPts val="600"/>
        </a:spcBef>
        <a:buFont typeface="Arial" pitchFamily="34" charset="0"/>
        <a:buNone/>
        <a:defRPr lang="de-DE" sz="1400" b="0" kern="1200" noProof="0" dirty="0" smtClean="0">
          <a:solidFill>
            <a:schemeClr val="tx1"/>
          </a:solidFill>
          <a:latin typeface="+mn-lt"/>
          <a:ea typeface="+mn-ea"/>
          <a:cs typeface="+mn-cs"/>
        </a:defRPr>
      </a:lvl2pPr>
      <a:lvl3pPr marL="177800" indent="-177800" algn="l" defTabSz="914400" rtl="0" eaLnBrk="1" latinLnBrk="0" hangingPunct="1">
        <a:lnSpc>
          <a:spcPct val="100000"/>
        </a:lnSpc>
        <a:spcBef>
          <a:spcPts val="600"/>
        </a:spcBef>
        <a:buClr>
          <a:srgbClr val="00338D"/>
        </a:buClr>
        <a:buFont typeface="Arial" pitchFamily="34" charset="0"/>
        <a:buChar char="■"/>
        <a:defRPr lang="de-DE" sz="1400" b="0" kern="1200" noProof="0" dirty="0" smtClean="0">
          <a:solidFill>
            <a:schemeClr val="tx1"/>
          </a:solidFill>
          <a:latin typeface="+mn-lt"/>
          <a:ea typeface="+mn-ea"/>
          <a:cs typeface="+mn-cs"/>
        </a:defRPr>
      </a:lvl3pPr>
      <a:lvl4pPr marL="355600" indent="-177800" algn="l" defTabSz="914400" rtl="0" eaLnBrk="1" latinLnBrk="0" hangingPunct="1">
        <a:lnSpc>
          <a:spcPct val="100000"/>
        </a:lnSpc>
        <a:spcBef>
          <a:spcPts val="600"/>
        </a:spcBef>
        <a:buClr>
          <a:srgbClr val="97989A"/>
        </a:buClr>
        <a:buFont typeface="Arial" pitchFamily="34" charset="0"/>
        <a:buChar char="–"/>
        <a:defRPr lang="de-DE" sz="1400" b="0" kern="1200" noProof="0" dirty="0" smtClean="0">
          <a:solidFill>
            <a:schemeClr val="tx1"/>
          </a:solidFill>
          <a:latin typeface="+mn-lt"/>
          <a:ea typeface="+mn-ea"/>
          <a:cs typeface="+mn-cs"/>
        </a:defRPr>
      </a:lvl4pPr>
      <a:lvl5pPr marL="534988" indent="-174625" algn="l" defTabSz="914400" rtl="0" eaLnBrk="1" latinLnBrk="0" hangingPunct="1">
        <a:lnSpc>
          <a:spcPct val="100000"/>
        </a:lnSpc>
        <a:spcBef>
          <a:spcPts val="600"/>
        </a:spcBef>
        <a:buClr>
          <a:srgbClr val="97989A"/>
        </a:buClr>
        <a:buFont typeface="Arial" pitchFamily="34" charset="0"/>
        <a:buChar char="■"/>
        <a:defRPr lang="de-DE" sz="1400" b="0" kern="1200" baseline="0" noProof="0" dirty="0">
          <a:solidFill>
            <a:schemeClr val="tx1"/>
          </a:solidFill>
          <a:latin typeface="+mn-lt"/>
          <a:ea typeface="+mn-ea"/>
          <a:cs typeface="+mn-cs"/>
        </a:defRPr>
      </a:lvl5pPr>
      <a:lvl6pPr marL="720725" indent="-185738" algn="l" defTabSz="914400" rtl="0" eaLnBrk="1" latinLnBrk="0" hangingPunct="1">
        <a:lnSpc>
          <a:spcPct val="100000"/>
        </a:lnSpc>
        <a:spcBef>
          <a:spcPts val="600"/>
        </a:spcBef>
        <a:buClr>
          <a:srgbClr val="97989A"/>
        </a:buClr>
        <a:buFont typeface="Arial" pitchFamily="34" charset="0"/>
        <a:buChar char="–"/>
        <a:defRPr lang="en-GB" sz="1200" kern="1200" dirty="0" smtClean="0">
          <a:solidFill>
            <a:schemeClr val="tx1"/>
          </a:solidFill>
          <a:latin typeface="Arial"/>
          <a:ea typeface="+mn-ea"/>
          <a:cs typeface="Arial" pitchFamily="34" charset="0"/>
        </a:defRPr>
      </a:lvl6pPr>
      <a:lvl7pPr marL="895350" indent="-174625" algn="l" defTabSz="914400" rtl="0" eaLnBrk="1" latinLnBrk="0" hangingPunct="1">
        <a:lnSpc>
          <a:spcPct val="100000"/>
        </a:lnSpc>
        <a:spcBef>
          <a:spcPts val="600"/>
        </a:spcBef>
        <a:buClr>
          <a:srgbClr val="97989A"/>
        </a:buClr>
        <a:buFont typeface="Arial" pitchFamily="34" charset="0"/>
        <a:buChar char="■"/>
        <a:defRPr lang="en-GB" sz="1200" kern="1200" baseline="0" dirty="0" smtClean="0">
          <a:solidFill>
            <a:schemeClr val="tx1"/>
          </a:solidFill>
          <a:latin typeface="Arial"/>
          <a:ea typeface="+mn-ea"/>
          <a:cs typeface="Arial" pitchFamily="34" charset="0"/>
        </a:defRPr>
      </a:lvl7pPr>
      <a:lvl8pPr marL="1081088" indent="-185738" algn="l" defTabSz="914400" rtl="0" eaLnBrk="1" latinLnBrk="0" hangingPunct="1">
        <a:lnSpc>
          <a:spcPct val="100000"/>
        </a:lnSpc>
        <a:spcBef>
          <a:spcPts val="600"/>
        </a:spcBef>
        <a:buClr>
          <a:srgbClr val="97989A"/>
        </a:buClr>
        <a:buFont typeface="Arial" pitchFamily="34" charset="0"/>
        <a:buChar char="–"/>
        <a:defRPr lang="en-GB" sz="1200" kern="1200" dirty="0" smtClean="0">
          <a:solidFill>
            <a:schemeClr val="tx1"/>
          </a:solidFill>
          <a:latin typeface="Arial"/>
          <a:ea typeface="+mn-ea"/>
          <a:cs typeface="+mn-cs"/>
        </a:defRPr>
      </a:lvl8pPr>
      <a:lvl9pPr marL="1255713" indent="-174625" algn="l" defTabSz="914400" rtl="0" eaLnBrk="1" latinLnBrk="0" hangingPunct="1">
        <a:lnSpc>
          <a:spcPct val="100000"/>
        </a:lnSpc>
        <a:spcBef>
          <a:spcPts val="600"/>
        </a:spcBef>
        <a:buClr>
          <a:srgbClr val="97989A"/>
        </a:buClr>
        <a:buFont typeface="Arial" pitchFamily="34" charset="0"/>
        <a:buChar char="■"/>
        <a:defRPr lang="en-GB" sz="1200" kern="1200" dirty="0" smtClean="0">
          <a:solidFill>
            <a:schemeClr val="tx1"/>
          </a:solidFill>
          <a:latin typeface="Arial"/>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9" Type="http://schemas.openxmlformats.org/officeDocument/2006/relationships/tags" Target="../tags/tag65.xml"/><Relationship Id="rId21" Type="http://schemas.openxmlformats.org/officeDocument/2006/relationships/tags" Target="../tags/tag47.xml"/><Relationship Id="rId34" Type="http://schemas.openxmlformats.org/officeDocument/2006/relationships/tags" Target="../tags/tag60.xml"/><Relationship Id="rId42" Type="http://schemas.openxmlformats.org/officeDocument/2006/relationships/tags" Target="../tags/tag68.xml"/><Relationship Id="rId47" Type="http://schemas.openxmlformats.org/officeDocument/2006/relationships/tags" Target="../tags/tag73.xml"/><Relationship Id="rId50" Type="http://schemas.openxmlformats.org/officeDocument/2006/relationships/tags" Target="../tags/tag76.xml"/><Relationship Id="rId55" Type="http://schemas.openxmlformats.org/officeDocument/2006/relationships/tags" Target="../tags/tag81.xml"/><Relationship Id="rId63" Type="http://schemas.openxmlformats.org/officeDocument/2006/relationships/oleObject" Target="../embeddings/oleObject6.bin"/><Relationship Id="rId7" Type="http://schemas.openxmlformats.org/officeDocument/2006/relationships/tags" Target="../tags/tag3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41" Type="http://schemas.openxmlformats.org/officeDocument/2006/relationships/tags" Target="../tags/tag67.xml"/><Relationship Id="rId54" Type="http://schemas.openxmlformats.org/officeDocument/2006/relationships/tags" Target="../tags/tag80.xml"/><Relationship Id="rId62" Type="http://schemas.openxmlformats.org/officeDocument/2006/relationships/slideLayout" Target="../slideLayouts/slideLayout19.xml"/><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tags" Target="../tags/tag63.xml"/><Relationship Id="rId40" Type="http://schemas.openxmlformats.org/officeDocument/2006/relationships/tags" Target="../tags/tag66.xml"/><Relationship Id="rId45" Type="http://schemas.openxmlformats.org/officeDocument/2006/relationships/tags" Target="../tags/tag71.xml"/><Relationship Id="rId53" Type="http://schemas.openxmlformats.org/officeDocument/2006/relationships/tags" Target="../tags/tag79.xml"/><Relationship Id="rId58" Type="http://schemas.openxmlformats.org/officeDocument/2006/relationships/tags" Target="../tags/tag84.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tags" Target="../tags/tag62.xml"/><Relationship Id="rId49" Type="http://schemas.openxmlformats.org/officeDocument/2006/relationships/tags" Target="../tags/tag75.xml"/><Relationship Id="rId57" Type="http://schemas.openxmlformats.org/officeDocument/2006/relationships/tags" Target="../tags/tag83.xml"/><Relationship Id="rId61" Type="http://schemas.openxmlformats.org/officeDocument/2006/relationships/tags" Target="../tags/tag87.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4" Type="http://schemas.openxmlformats.org/officeDocument/2006/relationships/tags" Target="../tags/tag70.xml"/><Relationship Id="rId52" Type="http://schemas.openxmlformats.org/officeDocument/2006/relationships/tags" Target="../tags/tag78.xml"/><Relationship Id="rId60" Type="http://schemas.openxmlformats.org/officeDocument/2006/relationships/tags" Target="../tags/tag8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tags" Target="../tags/tag61.xml"/><Relationship Id="rId43" Type="http://schemas.openxmlformats.org/officeDocument/2006/relationships/tags" Target="../tags/tag69.xml"/><Relationship Id="rId48" Type="http://schemas.openxmlformats.org/officeDocument/2006/relationships/tags" Target="../tags/tag74.xml"/><Relationship Id="rId56" Type="http://schemas.openxmlformats.org/officeDocument/2006/relationships/tags" Target="../tags/tag82.xml"/><Relationship Id="rId8" Type="http://schemas.openxmlformats.org/officeDocument/2006/relationships/tags" Target="../tags/tag34.xml"/><Relationship Id="rId51" Type="http://schemas.openxmlformats.org/officeDocument/2006/relationships/tags" Target="../tags/tag77.xml"/><Relationship Id="rId3" Type="http://schemas.openxmlformats.org/officeDocument/2006/relationships/tags" Target="../tags/tag29.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38" Type="http://schemas.openxmlformats.org/officeDocument/2006/relationships/tags" Target="../tags/tag64.xml"/><Relationship Id="rId46" Type="http://schemas.openxmlformats.org/officeDocument/2006/relationships/tags" Target="../tags/tag72.xml"/><Relationship Id="rId59" Type="http://schemas.openxmlformats.org/officeDocument/2006/relationships/tags" Target="../tags/tag85.xml"/></Relationships>
</file>

<file path=ppt/slides/_rels/slide11.xml.rels><?xml version="1.0" encoding="UTF-8" standalone="yes"?>
<Relationships xmlns="http://schemas.openxmlformats.org/package/2006/relationships"><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tags" Target="../tags/tag125.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tags" Target="../tags/tag128.xml"/><Relationship Id="rId47" Type="http://schemas.openxmlformats.org/officeDocument/2006/relationships/tags" Target="../tags/tag133.xml"/><Relationship Id="rId50" Type="http://schemas.openxmlformats.org/officeDocument/2006/relationships/tags" Target="../tags/tag136.xml"/><Relationship Id="rId55" Type="http://schemas.openxmlformats.org/officeDocument/2006/relationships/tags" Target="../tags/tag141.xml"/><Relationship Id="rId63" Type="http://schemas.openxmlformats.org/officeDocument/2006/relationships/oleObject" Target="../embeddings/oleObject7.bin"/><Relationship Id="rId7" Type="http://schemas.openxmlformats.org/officeDocument/2006/relationships/tags" Target="../tags/tag93.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tags" Target="../tags/tag115.xml"/><Relationship Id="rId41" Type="http://schemas.openxmlformats.org/officeDocument/2006/relationships/tags" Target="../tags/tag127.xml"/><Relationship Id="rId54" Type="http://schemas.openxmlformats.org/officeDocument/2006/relationships/tags" Target="../tags/tag140.xml"/><Relationship Id="rId62" Type="http://schemas.openxmlformats.org/officeDocument/2006/relationships/slideLayout" Target="../slideLayouts/slideLayout19.xml"/><Relationship Id="rId1" Type="http://schemas.openxmlformats.org/officeDocument/2006/relationships/vmlDrawing" Target="../drawings/vmlDrawing7.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tags" Target="../tags/tag123.xml"/><Relationship Id="rId40" Type="http://schemas.openxmlformats.org/officeDocument/2006/relationships/tags" Target="../tags/tag126.xml"/><Relationship Id="rId45" Type="http://schemas.openxmlformats.org/officeDocument/2006/relationships/tags" Target="../tags/tag131.xml"/><Relationship Id="rId53" Type="http://schemas.openxmlformats.org/officeDocument/2006/relationships/tags" Target="../tags/tag139.xml"/><Relationship Id="rId58" Type="http://schemas.openxmlformats.org/officeDocument/2006/relationships/tags" Target="../tags/tag144.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tags" Target="../tags/tag122.xml"/><Relationship Id="rId49" Type="http://schemas.openxmlformats.org/officeDocument/2006/relationships/tags" Target="../tags/tag135.xml"/><Relationship Id="rId57" Type="http://schemas.openxmlformats.org/officeDocument/2006/relationships/tags" Target="../tags/tag143.xml"/><Relationship Id="rId61" Type="http://schemas.openxmlformats.org/officeDocument/2006/relationships/tags" Target="../tags/tag147.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tags" Target="../tags/tag130.xml"/><Relationship Id="rId52" Type="http://schemas.openxmlformats.org/officeDocument/2006/relationships/tags" Target="../tags/tag138.xml"/><Relationship Id="rId60" Type="http://schemas.openxmlformats.org/officeDocument/2006/relationships/tags" Target="../tags/tag14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tags" Target="../tags/tag129.xml"/><Relationship Id="rId48" Type="http://schemas.openxmlformats.org/officeDocument/2006/relationships/tags" Target="../tags/tag134.xml"/><Relationship Id="rId56" Type="http://schemas.openxmlformats.org/officeDocument/2006/relationships/tags" Target="../tags/tag142.xml"/><Relationship Id="rId8" Type="http://schemas.openxmlformats.org/officeDocument/2006/relationships/tags" Target="../tags/tag94.xml"/><Relationship Id="rId51" Type="http://schemas.openxmlformats.org/officeDocument/2006/relationships/tags" Target="../tags/tag137.xml"/><Relationship Id="rId3" Type="http://schemas.openxmlformats.org/officeDocument/2006/relationships/tags" Target="../tags/tag89.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tags" Target="../tags/tag124.xml"/><Relationship Id="rId46" Type="http://schemas.openxmlformats.org/officeDocument/2006/relationships/tags" Target="../tags/tag132.xml"/><Relationship Id="rId59" Type="http://schemas.openxmlformats.org/officeDocument/2006/relationships/tags" Target="../tags/tag1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slideLayout" Target="../slideLayouts/slideLayout19.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xml"/><Relationship Id="rId7" Type="http://schemas.openxmlformats.org/officeDocument/2006/relationships/diagramLayout" Target="../diagrams/layout1.xml"/><Relationship Id="rId2" Type="http://schemas.openxmlformats.org/officeDocument/2006/relationships/slideLayout" Target="../slideLayouts/slideLayout20.xml"/><Relationship Id="rId1" Type="http://schemas.openxmlformats.org/officeDocument/2006/relationships/vmlDrawing" Target="../drawings/vmlDrawing5.vml"/><Relationship Id="rId6" Type="http://schemas.openxmlformats.org/officeDocument/2006/relationships/diagramData" Target="../diagrams/data1.xml"/><Relationship Id="rId11" Type="http://schemas.openxmlformats.org/officeDocument/2006/relationships/slide" Target="slide12.xml"/><Relationship Id="rId5" Type="http://schemas.openxmlformats.org/officeDocument/2006/relationships/image" Target="../media/image11.jpeg"/><Relationship Id="rId10" Type="http://schemas.microsoft.com/office/2007/relationships/diagramDrawing" Target="../diagrams/drawing1.xml"/><Relationship Id="rId4" Type="http://schemas.openxmlformats.org/officeDocument/2006/relationships/oleObject" Target="../embeddings/oleObject5.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slideLayout" Target="../slideLayouts/slideLayout19.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slideLayout" Target="../slideLayouts/slideLayout19.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slideLayout" Target="../slideLayouts/slideLayout19.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smtClean="0"/>
              <a:t>Project Set-up	</a:t>
            </a:r>
            <a:br>
              <a:rPr lang="en-GB" dirty="0" smtClean="0"/>
            </a:br>
            <a:r>
              <a:rPr lang="en-GB" sz="2400" dirty="0" smtClean="0"/>
              <a:t>BEAR 2.0 and PMC 3.0</a:t>
            </a:r>
            <a:endParaRPr lang="en-GB" dirty="0"/>
          </a:p>
        </p:txBody>
      </p:sp>
      <p:sp>
        <p:nvSpPr>
          <p:cNvPr id="7" name="Textplatzhalter 6"/>
          <p:cNvSpPr>
            <a:spLocks noGrp="1"/>
          </p:cNvSpPr>
          <p:nvPr>
            <p:ph type="body" sz="quarter" idx="10"/>
          </p:nvPr>
        </p:nvSpPr>
        <p:spPr/>
        <p:txBody>
          <a:bodyPr/>
          <a:lstStyle/>
          <a:p>
            <a:r>
              <a:rPr lang="en-GB" dirty="0" smtClean="0"/>
              <a:t>Frankfurt,  August 16</a:t>
            </a:r>
            <a:r>
              <a:rPr lang="en-GB" baseline="30000" dirty="0" smtClean="0"/>
              <a:t>th</a:t>
            </a:r>
            <a:r>
              <a:rPr lang="en-GB" dirty="0" smtClean="0"/>
              <a:t> 2013</a:t>
            </a:r>
            <a:endParaRPr lang="en-GB"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kt 89" hidden="1"/>
          <p:cNvGraphicFramePr>
            <a:graphicFrameLocks noChangeAspect="1"/>
          </p:cNvGraphicFramePr>
          <p:nvPr/>
        </p:nvGraphicFramePr>
        <p:xfrm>
          <a:off x="1587" y="1588"/>
          <a:ext cx="1587" cy="1587"/>
        </p:xfrm>
        <a:graphic>
          <a:graphicData uri="http://schemas.openxmlformats.org/presentationml/2006/ole">
            <p:oleObj spid="_x0000_s145410" name="think-cell Slide" r:id="rId63" imgW="360" imgH="360" progId="TCLayout.ActiveDocument.1">
              <p:embed/>
            </p:oleObj>
          </a:graphicData>
        </a:graphic>
      </p:graphicFrame>
      <p:sp>
        <p:nvSpPr>
          <p:cNvPr id="80" name="Rechteck 79" hidden="1"/>
          <p:cNvSpPr/>
          <p:nvPr>
            <p:custDataLst>
              <p:tags r:id="rId2"/>
            </p:custDataLst>
          </p:nvPr>
        </p:nvSpPr>
        <p:spPr bwMode="auto">
          <a:xfrm>
            <a:off x="0" y="0"/>
            <a:ext cx="158750" cy="158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de-DE" sz="1000" b="1">
              <a:latin typeface="Arial"/>
              <a:cs typeface="Arial"/>
              <a:sym typeface="Arial"/>
            </a:endParaRPr>
          </a:p>
        </p:txBody>
      </p:sp>
      <p:sp>
        <p:nvSpPr>
          <p:cNvPr id="5" name="Title 4"/>
          <p:cNvSpPr>
            <a:spLocks noGrp="1"/>
          </p:cNvSpPr>
          <p:nvPr>
            <p:ph type="title"/>
          </p:nvPr>
        </p:nvSpPr>
        <p:spPr/>
        <p:txBody>
          <a:bodyPr/>
          <a:lstStyle/>
          <a:p>
            <a:r>
              <a:rPr lang="en-GB" sz="1600" b="0" dirty="0" smtClean="0"/>
              <a:t>Project Timeline -BEAR</a:t>
            </a:r>
            <a:r>
              <a:rPr lang="en-GB" dirty="0" smtClean="0"/>
              <a:t/>
            </a:r>
            <a:br>
              <a:rPr lang="en-GB" dirty="0" smtClean="0"/>
            </a:br>
            <a:r>
              <a:rPr lang="en-GB" dirty="0" smtClean="0"/>
              <a:t>The analysis phase will be conducted in a four week timeframe and is split into three distinctive work streams. </a:t>
            </a:r>
            <a:endParaRPr lang="en-GB" dirty="0"/>
          </a:p>
        </p:txBody>
      </p:sp>
      <p:sp>
        <p:nvSpPr>
          <p:cNvPr id="8" name="Textplatzhalter 7"/>
          <p:cNvSpPr>
            <a:spLocks noGrp="1"/>
          </p:cNvSpPr>
          <p:nvPr>
            <p:ph type="body" sz="quarter" idx="14"/>
          </p:nvPr>
        </p:nvSpPr>
        <p:spPr/>
        <p:txBody>
          <a:bodyPr/>
          <a:lstStyle/>
          <a:p>
            <a:endParaRPr lang="de-DE"/>
          </a:p>
        </p:txBody>
      </p:sp>
      <p:sp>
        <p:nvSpPr>
          <p:cNvPr id="7" name="Textplatzhalter 6"/>
          <p:cNvSpPr>
            <a:spLocks noGrp="1"/>
          </p:cNvSpPr>
          <p:nvPr>
            <p:ph type="body" sz="quarter" idx="13"/>
          </p:nvPr>
        </p:nvSpPr>
        <p:spPr/>
        <p:txBody>
          <a:bodyPr/>
          <a:lstStyle/>
          <a:p>
            <a:endParaRPr lang="de-DE"/>
          </a:p>
        </p:txBody>
      </p:sp>
      <p:sp>
        <p:nvSpPr>
          <p:cNvPr id="9" name="Rectangle 195"/>
          <p:cNvSpPr/>
          <p:nvPr>
            <p:custDataLst>
              <p:tags r:id="rId3"/>
            </p:custDataLst>
          </p:nvPr>
        </p:nvSpPr>
        <p:spPr bwMode="auto">
          <a:xfrm>
            <a:off x="273050" y="1474787"/>
            <a:ext cx="9259887" cy="344487"/>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52" name="Rechteck 151"/>
          <p:cNvSpPr/>
          <p:nvPr>
            <p:custDataLst>
              <p:tags r:id="rId4"/>
            </p:custDataLst>
          </p:nvPr>
        </p:nvSpPr>
        <p:spPr bwMode="auto">
          <a:xfrm>
            <a:off x="273050" y="2135187"/>
            <a:ext cx="9259887" cy="322262"/>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1" name="Rectangle 198"/>
          <p:cNvSpPr/>
          <p:nvPr>
            <p:custDataLst>
              <p:tags r:id="rId5"/>
            </p:custDataLst>
          </p:nvPr>
        </p:nvSpPr>
        <p:spPr bwMode="auto">
          <a:xfrm>
            <a:off x="273050" y="1819275"/>
            <a:ext cx="9259887" cy="315912"/>
          </a:xfrm>
          <a:prstGeom prst="rect">
            <a:avLst/>
          </a:prstGeom>
          <a:solidFill>
            <a:srgbClr val="EEEE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85" name="Rechteck 184"/>
          <p:cNvSpPr/>
          <p:nvPr>
            <p:custDataLst>
              <p:tags r:id="rId6"/>
            </p:custDataLst>
          </p:nvPr>
        </p:nvSpPr>
        <p:spPr bwMode="auto">
          <a:xfrm>
            <a:off x="273050" y="3373437"/>
            <a:ext cx="9259887" cy="271462"/>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81" name="Rechteck 180"/>
          <p:cNvSpPr/>
          <p:nvPr>
            <p:custDataLst>
              <p:tags r:id="rId7"/>
            </p:custDataLst>
          </p:nvPr>
        </p:nvSpPr>
        <p:spPr bwMode="auto">
          <a:xfrm>
            <a:off x="273050" y="4586287"/>
            <a:ext cx="9259887" cy="298450"/>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92" name="Rectangle 131"/>
          <p:cNvSpPr>
            <a:spLocks/>
          </p:cNvSpPr>
          <p:nvPr>
            <p:custDataLst>
              <p:tags r:id="rId8"/>
            </p:custDataLst>
          </p:nvPr>
        </p:nvSpPr>
        <p:spPr bwMode="auto">
          <a:xfrm>
            <a:off x="3408362" y="1274762"/>
            <a:ext cx="700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BC010FE9-93BD-48AD-95A2-B93821C4CD75}" type="datetime'''''''''''''''''''''J''''''''''''''''''''''''''''a''''''n''.'">
              <a:rPr lang="en-US" sz="1000" b="1" smtClean="0">
                <a:solidFill>
                  <a:schemeClr val="tx1"/>
                </a:solidFill>
                <a:cs typeface="Arial"/>
              </a:rPr>
              <a:pPr algn="ctr">
                <a:spcBef>
                  <a:spcPct val="0"/>
                </a:spcBef>
                <a:spcAft>
                  <a:spcPct val="0"/>
                </a:spcAft>
              </a:pPr>
              <a:t>Jan.</a:t>
            </a:fld>
            <a:endParaRPr lang="de-DE" sz="1000" b="1" dirty="0">
              <a:solidFill>
                <a:schemeClr val="tx1"/>
              </a:solidFill>
              <a:latin typeface="Arial"/>
              <a:cs typeface="Arial"/>
              <a:sym typeface="Arial"/>
            </a:endParaRPr>
          </a:p>
        </p:txBody>
      </p:sp>
      <p:sp>
        <p:nvSpPr>
          <p:cNvPr id="193" name="Rectangle 131"/>
          <p:cNvSpPr>
            <a:spLocks/>
          </p:cNvSpPr>
          <p:nvPr>
            <p:custDataLst>
              <p:tags r:id="rId9"/>
            </p:custDataLst>
          </p:nvPr>
        </p:nvSpPr>
        <p:spPr bwMode="auto">
          <a:xfrm>
            <a:off x="4108450" y="1274762"/>
            <a:ext cx="48990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41C2048-8BFA-4DD9-98A0-D4A558AD188D}" type="datetime'''''''''''''''''F''e''''''''br''''''''''''.'''''''''''''''''''">
              <a:rPr lang="en-US" sz="1000" b="1" smtClean="0">
                <a:solidFill>
                  <a:schemeClr val="tx1"/>
                </a:solidFill>
                <a:cs typeface="Arial"/>
              </a:rPr>
              <a:pPr algn="ctr">
                <a:spcBef>
                  <a:spcPct val="0"/>
                </a:spcBef>
                <a:spcAft>
                  <a:spcPct val="0"/>
                </a:spcAft>
              </a:pPr>
              <a:t>Febr.</a:t>
            </a:fld>
            <a:endParaRPr lang="de-DE" sz="1000" b="1" dirty="0">
              <a:solidFill>
                <a:schemeClr val="tx1"/>
              </a:solidFill>
              <a:latin typeface="Arial"/>
              <a:cs typeface="Arial"/>
              <a:sym typeface="Arial"/>
            </a:endParaRPr>
          </a:p>
        </p:txBody>
      </p:sp>
      <p:sp>
        <p:nvSpPr>
          <p:cNvPr id="194" name="Rectangle 131"/>
          <p:cNvSpPr>
            <a:spLocks/>
          </p:cNvSpPr>
          <p:nvPr>
            <p:custDataLst>
              <p:tags r:id="rId10"/>
            </p:custDataLst>
          </p:nvPr>
        </p:nvSpPr>
        <p:spPr bwMode="auto">
          <a:xfrm>
            <a:off x="9007475" y="1274762"/>
            <a:ext cx="52546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765579B-BC1F-462C-A784-2D3DDDD07B8E}" type="datetime'''''''''''''''''''Mä''''''''''''''r''''z'''''''''''''">
              <a:rPr lang="en-US" sz="1000" b="1" smtClean="0">
                <a:solidFill>
                  <a:schemeClr val="tx1"/>
                </a:solidFill>
                <a:cs typeface="Arial"/>
              </a:rPr>
              <a:pPr algn="ctr">
                <a:spcBef>
                  <a:spcPct val="0"/>
                </a:spcBef>
                <a:spcAft>
                  <a:spcPct val="0"/>
                </a:spcAft>
              </a:pPr>
              <a:t>März</a:t>
            </a:fld>
            <a:endParaRPr lang="de-DE" sz="1000" b="1" dirty="0">
              <a:solidFill>
                <a:schemeClr val="tx1"/>
              </a:solidFill>
              <a:latin typeface="Arial"/>
              <a:cs typeface="Arial"/>
              <a:sym typeface="Arial"/>
            </a:endParaRPr>
          </a:p>
        </p:txBody>
      </p:sp>
      <p:cxnSp>
        <p:nvCxnSpPr>
          <p:cNvPr id="91" name="Straight Connector 90"/>
          <p:cNvCxnSpPr/>
          <p:nvPr>
            <p:custDataLst>
              <p:tags r:id="rId11"/>
            </p:custDataLst>
          </p:nvPr>
        </p:nvCxnSpPr>
        <p:spPr bwMode="auto">
          <a:xfrm>
            <a:off x="9532937" y="1474787"/>
            <a:ext cx="0" cy="468947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12"/>
            </p:custDataLst>
          </p:nvPr>
        </p:nvCxnSpPr>
        <p:spPr bwMode="auto">
          <a:xfrm>
            <a:off x="273050" y="1474787"/>
            <a:ext cx="0" cy="468947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13"/>
            </p:custDataLst>
          </p:nvPr>
        </p:nvCxnSpPr>
        <p:spPr bwMode="auto">
          <a:xfrm>
            <a:off x="3408362" y="1474787"/>
            <a:ext cx="0" cy="468947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4"/>
            </p:custDataLst>
          </p:nvPr>
        </p:nvCxnSpPr>
        <p:spPr bwMode="auto">
          <a:xfrm>
            <a:off x="273050" y="2135187"/>
            <a:ext cx="9259887"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5"/>
            </p:custDataLst>
          </p:nvPr>
        </p:nvCxnSpPr>
        <p:spPr bwMode="auto">
          <a:xfrm>
            <a:off x="273050" y="4586287"/>
            <a:ext cx="9259887"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6"/>
            </p:custDataLst>
          </p:nvPr>
        </p:nvCxnSpPr>
        <p:spPr bwMode="auto">
          <a:xfrm>
            <a:off x="273050" y="6164262"/>
            <a:ext cx="9259887"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7"/>
            </p:custDataLst>
          </p:nvPr>
        </p:nvCxnSpPr>
        <p:spPr bwMode="gray">
          <a:xfrm>
            <a:off x="3408362" y="1474787"/>
            <a:ext cx="0" cy="4689475"/>
          </a:xfrm>
          <a:prstGeom prst="line">
            <a:avLst/>
          </a:prstGeom>
          <a:ln w="19050">
            <a:solidFill>
              <a:srgbClr val="C84E00"/>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p:custDataLst>
              <p:tags r:id="rId18"/>
            </p:custDataLst>
          </p:nvPr>
        </p:nvCxnSpPr>
        <p:spPr bwMode="gray">
          <a:xfrm>
            <a:off x="8307387" y="1474787"/>
            <a:ext cx="0" cy="4689475"/>
          </a:xfrm>
          <a:prstGeom prst="line">
            <a:avLst/>
          </a:prstGeom>
          <a:ln w="19050">
            <a:solidFill>
              <a:srgbClr val="C84E00"/>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p:custDataLst>
              <p:tags r:id="rId19"/>
            </p:custDataLst>
          </p:nvPr>
        </p:nvCxnSpPr>
        <p:spPr bwMode="gray">
          <a:xfrm>
            <a:off x="7083425" y="1474787"/>
            <a:ext cx="0" cy="4689475"/>
          </a:xfrm>
          <a:prstGeom prst="line">
            <a:avLst/>
          </a:prstGeom>
          <a:ln w="19050">
            <a:solidFill>
              <a:srgbClr val="002D8D"/>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custDataLst>
              <p:tags r:id="rId20"/>
            </p:custDataLst>
          </p:nvPr>
        </p:nvCxnSpPr>
        <p:spPr bwMode="gray">
          <a:xfrm>
            <a:off x="5857875" y="1474787"/>
            <a:ext cx="0" cy="4689475"/>
          </a:xfrm>
          <a:prstGeom prst="line">
            <a:avLst/>
          </a:prstGeom>
          <a:ln w="19050">
            <a:solidFill>
              <a:srgbClr val="002D8D"/>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custDataLst>
              <p:tags r:id="rId21"/>
            </p:custDataLst>
          </p:nvPr>
        </p:nvCxnSpPr>
        <p:spPr bwMode="gray">
          <a:xfrm>
            <a:off x="4633912" y="1474787"/>
            <a:ext cx="0" cy="4689475"/>
          </a:xfrm>
          <a:prstGeom prst="line">
            <a:avLst/>
          </a:prstGeom>
          <a:ln w="19050">
            <a:solidFill>
              <a:srgbClr val="002D8D"/>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2"/>
            </p:custDataLst>
          </p:nvPr>
        </p:nvCxnSpPr>
        <p:spPr bwMode="auto">
          <a:xfrm>
            <a:off x="273050" y="1474787"/>
            <a:ext cx="9259887"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82" name="Richtungspfeil 81"/>
          <p:cNvSpPr/>
          <p:nvPr>
            <p:custDataLst>
              <p:tags r:id="rId23"/>
            </p:custDataLst>
          </p:nvPr>
        </p:nvSpPr>
        <p:spPr bwMode="auto">
          <a:xfrm>
            <a:off x="5508625" y="3087687"/>
            <a:ext cx="104933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487" tIns="46037" rIns="0" bIns="46037" rtlCol="0" anchor="ctr" anchorCtr="0">
            <a:noAutofit/>
          </a:bodyPr>
          <a:lstStyle/>
          <a:p>
            <a:pPr>
              <a:spcBef>
                <a:spcPct val="0"/>
              </a:spcBef>
              <a:spcAft>
                <a:spcPct val="0"/>
              </a:spcAft>
            </a:pPr>
            <a:endParaRPr lang="de-DE" sz="1000">
              <a:solidFill>
                <a:schemeClr val="tx1"/>
              </a:solidFill>
              <a:latin typeface="Arial"/>
              <a:cs typeface="Arial"/>
              <a:sym typeface="Arial"/>
            </a:endParaRPr>
          </a:p>
        </p:txBody>
      </p:sp>
      <p:sp>
        <p:nvSpPr>
          <p:cNvPr id="119" name="Richtungspfeil 118"/>
          <p:cNvSpPr/>
          <p:nvPr>
            <p:custDataLst>
              <p:tags r:id="rId24"/>
            </p:custDataLst>
          </p:nvPr>
        </p:nvSpPr>
        <p:spPr bwMode="auto">
          <a:xfrm>
            <a:off x="3413125" y="4937125"/>
            <a:ext cx="1395412"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21" name="Richtungspfeil 120"/>
          <p:cNvSpPr/>
          <p:nvPr>
            <p:custDataLst>
              <p:tags r:id="rId25"/>
            </p:custDataLst>
          </p:nvPr>
        </p:nvSpPr>
        <p:spPr bwMode="auto">
          <a:xfrm>
            <a:off x="6383337" y="5514975"/>
            <a:ext cx="1749425"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19050"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14" name="Richtungspfeil 113"/>
          <p:cNvSpPr/>
          <p:nvPr>
            <p:custDataLst>
              <p:tags r:id="rId26"/>
            </p:custDataLst>
          </p:nvPr>
        </p:nvSpPr>
        <p:spPr bwMode="auto">
          <a:xfrm>
            <a:off x="3413125" y="2509837"/>
            <a:ext cx="122078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20" name="Richtungspfeil 119"/>
          <p:cNvSpPr/>
          <p:nvPr>
            <p:custDataLst>
              <p:tags r:id="rId27"/>
            </p:custDataLst>
          </p:nvPr>
        </p:nvSpPr>
        <p:spPr bwMode="auto">
          <a:xfrm>
            <a:off x="4633912" y="5226050"/>
            <a:ext cx="2449512"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270" name="Richtungspfeil 269"/>
          <p:cNvSpPr/>
          <p:nvPr>
            <p:custDataLst>
              <p:tags r:id="rId28"/>
            </p:custDataLst>
          </p:nvPr>
        </p:nvSpPr>
        <p:spPr bwMode="auto">
          <a:xfrm>
            <a:off x="4633912" y="2798762"/>
            <a:ext cx="874712"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269" name="Richtungspfeil 268"/>
          <p:cNvSpPr/>
          <p:nvPr>
            <p:custDataLst>
              <p:tags r:id="rId29"/>
            </p:custDataLst>
          </p:nvPr>
        </p:nvSpPr>
        <p:spPr bwMode="auto">
          <a:xfrm>
            <a:off x="4983162" y="3697287"/>
            <a:ext cx="104933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30" name="Richtungspfeil 129"/>
          <p:cNvSpPr/>
          <p:nvPr>
            <p:custDataLst>
              <p:tags r:id="rId30"/>
            </p:custDataLst>
          </p:nvPr>
        </p:nvSpPr>
        <p:spPr bwMode="auto">
          <a:xfrm>
            <a:off x="8132762" y="5803900"/>
            <a:ext cx="1395412" cy="233362"/>
          </a:xfrm>
          <a:prstGeom prst="homePlate">
            <a:avLst>
              <a:gd name="adj" fmla="val 18367"/>
            </a:avLst>
          </a:prstGeom>
          <a:solidFill>
            <a:srgbClr val="D6D7D9"/>
          </a:solidFill>
          <a:ln w="9525" algn="ctr">
            <a:solidFill>
              <a:schemeClr val="tx1"/>
            </a:solidFill>
            <a:prstDash val="dash"/>
            <a:miter lim="800000"/>
            <a:headEnd/>
            <a:tailEnd/>
          </a:ln>
          <a:effectLst/>
        </p:spPr>
        <p:txBody>
          <a:bodyPr wrap="square" lIns="90487" tIns="46037" rIns="0" bIns="46037" rtlCol="0" anchor="ctr" anchorCtr="0">
            <a:noAutofit/>
          </a:bodyPr>
          <a:lstStyle/>
          <a:p>
            <a:pPr fontAlgn="base">
              <a:spcBef>
                <a:spcPct val="0"/>
              </a:spcBef>
              <a:spcAft>
                <a:spcPct val="0"/>
              </a:spcAft>
            </a:pPr>
            <a:endParaRPr lang="de-DE" sz="1000" smtClean="0">
              <a:latin typeface="Arial"/>
              <a:cs typeface="Arial"/>
              <a:sym typeface="Arial"/>
            </a:endParaRPr>
          </a:p>
        </p:txBody>
      </p:sp>
      <p:sp>
        <p:nvSpPr>
          <p:cNvPr id="109" name="Pentagon 108"/>
          <p:cNvSpPr/>
          <p:nvPr>
            <p:custDataLst>
              <p:tags r:id="rId31"/>
            </p:custDataLst>
          </p:nvPr>
        </p:nvSpPr>
        <p:spPr bwMode="auto">
          <a:xfrm>
            <a:off x="7432675" y="4275137"/>
            <a:ext cx="70008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en-US" sz="1000" dirty="0">
              <a:solidFill>
                <a:schemeClr val="tx1"/>
              </a:solidFill>
              <a:latin typeface="Arial"/>
              <a:cs typeface="Arial"/>
              <a:sym typeface="Arial"/>
            </a:endParaRPr>
          </a:p>
        </p:txBody>
      </p:sp>
      <p:sp>
        <p:nvSpPr>
          <p:cNvPr id="200" name="Richtungspfeil 199"/>
          <p:cNvSpPr/>
          <p:nvPr>
            <p:custDataLst>
              <p:tags r:id="rId32"/>
            </p:custDataLst>
          </p:nvPr>
        </p:nvSpPr>
        <p:spPr bwMode="auto">
          <a:xfrm>
            <a:off x="6032500" y="3986212"/>
            <a:ext cx="1400175"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19050"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98" name="Rechteck 197"/>
          <p:cNvSpPr/>
          <p:nvPr>
            <p:custDataLst>
              <p:tags r:id="rId33"/>
            </p:custDataLst>
          </p:nvPr>
        </p:nvSpPr>
        <p:spPr bwMode="auto">
          <a:xfrm>
            <a:off x="3417887" y="1573212"/>
            <a:ext cx="6216650" cy="158750"/>
          </a:xfrm>
          <a:prstGeom prst="rightArrow">
            <a:avLst>
              <a:gd name="adj1" fmla="val 50000"/>
              <a:gd name="adj2" fmla="val 40657"/>
            </a:avLst>
          </a:prstGeom>
          <a:solidFill>
            <a:schemeClr val="bg1"/>
          </a:solidFill>
          <a:ln w="19050">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98" name="Gleichschenkliges Dreieck 97"/>
          <p:cNvSpPr/>
          <p:nvPr>
            <p:custDataLst>
              <p:tags r:id="rId34"/>
            </p:custDataLst>
          </p:nvPr>
        </p:nvSpPr>
        <p:spPr bwMode="gray">
          <a:xfrm>
            <a:off x="8248650" y="1906587"/>
            <a:ext cx="119063" cy="103187"/>
          </a:xfrm>
          <a:prstGeom prst="triangle">
            <a:avLst>
              <a:gd name="adj" fmla="val 50000"/>
            </a:avLst>
          </a:prstGeom>
          <a:solidFill>
            <a:srgbClr val="C84E00"/>
          </a:solidFill>
          <a:ln w="19050" algn="ctr">
            <a:solidFill>
              <a:srgbClr val="C84E00"/>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12" name="Raute 111"/>
          <p:cNvSpPr/>
          <p:nvPr>
            <p:custDataLst>
              <p:tags r:id="rId35"/>
            </p:custDataLst>
          </p:nvPr>
        </p:nvSpPr>
        <p:spPr bwMode="gray">
          <a:xfrm>
            <a:off x="7024687" y="1898650"/>
            <a:ext cx="119062" cy="119062"/>
          </a:xfrm>
          <a:prstGeom prst="diamond">
            <a:avLst/>
          </a:prstGeom>
          <a:solidFill>
            <a:srgbClr val="002D8D"/>
          </a:solidFill>
          <a:ln w="19050" algn="ctr">
            <a:solidFill>
              <a:srgbClr val="002D8D"/>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06" name="Raute 105"/>
          <p:cNvSpPr/>
          <p:nvPr>
            <p:custDataLst>
              <p:tags r:id="rId36"/>
            </p:custDataLst>
          </p:nvPr>
        </p:nvSpPr>
        <p:spPr bwMode="gray">
          <a:xfrm>
            <a:off x="5799137" y="1898650"/>
            <a:ext cx="119063" cy="119063"/>
          </a:xfrm>
          <a:prstGeom prst="diamond">
            <a:avLst/>
          </a:prstGeom>
          <a:solidFill>
            <a:srgbClr val="002D8D"/>
          </a:solidFill>
          <a:ln w="19050" algn="ctr">
            <a:solidFill>
              <a:srgbClr val="002D8D"/>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03" name="Raute 102"/>
          <p:cNvSpPr/>
          <p:nvPr>
            <p:custDataLst>
              <p:tags r:id="rId37"/>
            </p:custDataLst>
          </p:nvPr>
        </p:nvSpPr>
        <p:spPr bwMode="gray">
          <a:xfrm>
            <a:off x="4575175" y="1898650"/>
            <a:ext cx="119063" cy="119062"/>
          </a:xfrm>
          <a:prstGeom prst="diamond">
            <a:avLst/>
          </a:prstGeom>
          <a:solidFill>
            <a:srgbClr val="002D8D"/>
          </a:solidFill>
          <a:ln w="19050" algn="ctr">
            <a:solidFill>
              <a:srgbClr val="002D8D"/>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31" name="Gleichschenkliges Dreieck 130"/>
          <p:cNvSpPr/>
          <p:nvPr>
            <p:custDataLst>
              <p:tags r:id="rId38"/>
            </p:custDataLst>
          </p:nvPr>
        </p:nvSpPr>
        <p:spPr bwMode="gray">
          <a:xfrm>
            <a:off x="8774112" y="5868987"/>
            <a:ext cx="119062" cy="103188"/>
          </a:xfrm>
          <a:prstGeom prst="triangle">
            <a:avLst>
              <a:gd name="adj" fmla="val 50000"/>
            </a:avLst>
          </a:prstGeom>
          <a:solidFill>
            <a:schemeClr val="tx1"/>
          </a:solidFill>
          <a:ln w="19050" algn="ctr">
            <a:solidFill>
              <a:schemeClr val="tx1"/>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65" name="Isosceles Triangle 192"/>
          <p:cNvSpPr/>
          <p:nvPr>
            <p:custDataLst>
              <p:tags r:id="rId39"/>
            </p:custDataLst>
          </p:nvPr>
        </p:nvSpPr>
        <p:spPr bwMode="gray">
          <a:xfrm>
            <a:off x="3349625" y="1906587"/>
            <a:ext cx="119063" cy="103188"/>
          </a:xfrm>
          <a:prstGeom prst="triangle">
            <a:avLst>
              <a:gd name="adj" fmla="val 50000"/>
            </a:avLst>
          </a:prstGeom>
          <a:solidFill>
            <a:srgbClr val="C84E00"/>
          </a:solidFill>
          <a:ln w="19050">
            <a:solidFill>
              <a:srgbClr val="C84E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0" name="Rectangle 12"/>
          <p:cNvSpPr>
            <a:spLocks/>
          </p:cNvSpPr>
          <p:nvPr>
            <p:custDataLst>
              <p:tags r:id="rId40"/>
            </p:custDataLst>
          </p:nvPr>
        </p:nvSpPr>
        <p:spPr bwMode="gray">
          <a:xfrm>
            <a:off x="452438" y="3403600"/>
            <a:ext cx="8667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b="1" dirty="0" smtClean="0">
                <a:solidFill>
                  <a:schemeClr val="bg1"/>
                </a:solidFill>
                <a:sym typeface="+mn-lt"/>
              </a:rPr>
              <a:t>Alignment</a:t>
            </a:r>
            <a:endParaRPr lang="de-DE" sz="1400" b="1" dirty="0">
              <a:solidFill>
                <a:schemeClr val="bg1"/>
              </a:solidFill>
              <a:sym typeface="+mn-lt"/>
            </a:endParaRPr>
          </a:p>
        </p:txBody>
      </p:sp>
      <p:sp>
        <p:nvSpPr>
          <p:cNvPr id="77" name="Rectangle 7"/>
          <p:cNvSpPr>
            <a:spLocks/>
          </p:cNvSpPr>
          <p:nvPr>
            <p:custDataLst>
              <p:tags r:id="rId41"/>
            </p:custDataLst>
          </p:nvPr>
        </p:nvSpPr>
        <p:spPr bwMode="auto">
          <a:xfrm>
            <a:off x="452436" y="3113087"/>
            <a:ext cx="19843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Handover to Service Provider</a:t>
            </a:r>
            <a:endParaRPr lang="de-DE" sz="1200" dirty="0">
              <a:solidFill>
                <a:schemeClr val="tx1"/>
              </a:solidFill>
              <a:latin typeface="Arial"/>
              <a:cs typeface="Arial"/>
              <a:sym typeface="Arial"/>
            </a:endParaRPr>
          </a:p>
        </p:txBody>
      </p:sp>
      <p:sp>
        <p:nvSpPr>
          <p:cNvPr id="74" name="Rectangle 3"/>
          <p:cNvSpPr/>
          <p:nvPr>
            <p:custDataLst>
              <p:tags r:id="rId42"/>
            </p:custDataLst>
          </p:nvPr>
        </p:nvSpPr>
        <p:spPr bwMode="gray">
          <a:xfrm>
            <a:off x="452437" y="1554162"/>
            <a:ext cx="27765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b="1" dirty="0" smtClean="0">
                <a:solidFill>
                  <a:schemeClr val="bg1"/>
                </a:solidFill>
                <a:sym typeface="+mn-lt"/>
              </a:rPr>
              <a:t>Project and change management</a:t>
            </a:r>
            <a:endParaRPr lang="de-DE" sz="1400" b="1" dirty="0">
              <a:solidFill>
                <a:schemeClr val="bg1"/>
              </a:solidFill>
              <a:sym typeface="+mn-lt"/>
            </a:endParaRPr>
          </a:p>
        </p:txBody>
      </p:sp>
      <p:sp>
        <p:nvSpPr>
          <p:cNvPr id="75" name="Rectangle 7"/>
          <p:cNvSpPr>
            <a:spLocks/>
          </p:cNvSpPr>
          <p:nvPr>
            <p:custDataLst>
              <p:tags r:id="rId43"/>
            </p:custDataLst>
          </p:nvPr>
        </p:nvSpPr>
        <p:spPr bwMode="auto">
          <a:xfrm>
            <a:off x="452437" y="2824162"/>
            <a:ext cx="16970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Create specification docs</a:t>
            </a:r>
            <a:endParaRPr lang="de-DE" sz="1200" dirty="0">
              <a:solidFill>
                <a:schemeClr val="tx1"/>
              </a:solidFill>
              <a:latin typeface="Arial"/>
              <a:cs typeface="Arial"/>
              <a:sym typeface="Arial"/>
            </a:endParaRPr>
          </a:p>
        </p:txBody>
      </p:sp>
      <p:sp>
        <p:nvSpPr>
          <p:cNvPr id="105" name="Rechteck 104"/>
          <p:cNvSpPr/>
          <p:nvPr>
            <p:custDataLst>
              <p:tags r:id="rId44"/>
            </p:custDataLst>
          </p:nvPr>
        </p:nvSpPr>
        <p:spPr bwMode="auto">
          <a:xfrm>
            <a:off x="5964237" y="1897062"/>
            <a:ext cx="625475" cy="122237"/>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800" dirty="0" smtClean="0"/>
              <a:t>Status Report</a:t>
            </a:r>
            <a:endParaRPr lang="de-DE" sz="800" dirty="0" smtClean="0">
              <a:latin typeface="Arial"/>
              <a:sym typeface="Arial"/>
            </a:endParaRPr>
          </a:p>
        </p:txBody>
      </p:sp>
      <p:sp>
        <p:nvSpPr>
          <p:cNvPr id="113" name="Rectangle 7"/>
          <p:cNvSpPr>
            <a:spLocks/>
          </p:cNvSpPr>
          <p:nvPr>
            <p:custDataLst>
              <p:tags r:id="rId45"/>
            </p:custDataLst>
          </p:nvPr>
        </p:nvSpPr>
        <p:spPr bwMode="auto">
          <a:xfrm>
            <a:off x="452435" y="2535237"/>
            <a:ext cx="14255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Kick-Off/ Mobilization</a:t>
            </a:r>
            <a:endParaRPr lang="de-DE" sz="1200" dirty="0">
              <a:solidFill>
                <a:schemeClr val="tx1"/>
              </a:solidFill>
              <a:latin typeface="Arial"/>
              <a:cs typeface="Arial"/>
              <a:sym typeface="Arial"/>
            </a:endParaRPr>
          </a:p>
        </p:txBody>
      </p:sp>
      <p:sp>
        <p:nvSpPr>
          <p:cNvPr id="266" name="Rectangle 12"/>
          <p:cNvSpPr>
            <a:spLocks/>
          </p:cNvSpPr>
          <p:nvPr>
            <p:custDataLst>
              <p:tags r:id="rId46"/>
            </p:custDataLst>
          </p:nvPr>
        </p:nvSpPr>
        <p:spPr bwMode="auto">
          <a:xfrm>
            <a:off x="452436" y="5251450"/>
            <a:ext cx="1524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sym typeface="Arial"/>
              </a:rPr>
              <a:t>…</a:t>
            </a:r>
            <a:endParaRPr lang="de-DE" sz="1200" dirty="0">
              <a:solidFill>
                <a:schemeClr val="tx1"/>
              </a:solidFill>
              <a:latin typeface="Arial"/>
              <a:cs typeface="Arial"/>
              <a:sym typeface="Arial"/>
            </a:endParaRPr>
          </a:p>
        </p:txBody>
      </p:sp>
      <p:sp>
        <p:nvSpPr>
          <p:cNvPr id="69" name="Rectangle 7"/>
          <p:cNvSpPr>
            <a:spLocks/>
          </p:cNvSpPr>
          <p:nvPr>
            <p:custDataLst>
              <p:tags r:id="rId47"/>
            </p:custDataLst>
          </p:nvPr>
        </p:nvSpPr>
        <p:spPr bwMode="gray">
          <a:xfrm>
            <a:off x="452435" y="2216150"/>
            <a:ext cx="12001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de-DE" sz="1400" b="1" dirty="0" err="1" smtClean="0">
                <a:solidFill>
                  <a:schemeClr val="bg1"/>
                </a:solidFill>
                <a:latin typeface="Arial"/>
                <a:cs typeface="Arial"/>
                <a:sym typeface="Arial"/>
              </a:rPr>
              <a:t>Specifications</a:t>
            </a:r>
            <a:endParaRPr lang="de-DE" sz="1400" b="1" dirty="0">
              <a:solidFill>
                <a:schemeClr val="bg1"/>
              </a:solidFill>
              <a:latin typeface="Arial"/>
              <a:cs typeface="Arial"/>
              <a:sym typeface="Arial"/>
            </a:endParaRPr>
          </a:p>
        </p:txBody>
      </p:sp>
      <p:sp>
        <p:nvSpPr>
          <p:cNvPr id="70" name="Rectangle 5"/>
          <p:cNvSpPr>
            <a:spLocks/>
          </p:cNvSpPr>
          <p:nvPr>
            <p:custDataLst>
              <p:tags r:id="rId48"/>
            </p:custDataLst>
          </p:nvPr>
        </p:nvSpPr>
        <p:spPr bwMode="auto">
          <a:xfrm>
            <a:off x="452437" y="1873250"/>
            <a:ext cx="16621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mn-lt"/>
              </a:rPr>
              <a:t>Communication Concept</a:t>
            </a:r>
            <a:endParaRPr lang="de-DE" sz="1200" dirty="0">
              <a:solidFill>
                <a:schemeClr val="tx1"/>
              </a:solidFill>
              <a:sym typeface="+mn-lt"/>
            </a:endParaRPr>
          </a:p>
        </p:txBody>
      </p:sp>
      <p:sp useBgFill="1">
        <p:nvSpPr>
          <p:cNvPr id="97" name="Rechteck 96"/>
          <p:cNvSpPr/>
          <p:nvPr>
            <p:custDataLst>
              <p:tags r:id="rId49"/>
            </p:custDataLst>
          </p:nvPr>
        </p:nvSpPr>
        <p:spPr bwMode="auto">
          <a:xfrm>
            <a:off x="8413750" y="1881187"/>
            <a:ext cx="1117600" cy="152400"/>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1000" dirty="0" smtClean="0">
                <a:sym typeface="+mn-lt"/>
              </a:rPr>
              <a:t>Steering Committee</a:t>
            </a:r>
            <a:endParaRPr lang="de-DE" sz="1000" dirty="0" smtClean="0">
              <a:sym typeface="+mn-lt"/>
            </a:endParaRPr>
          </a:p>
        </p:txBody>
      </p:sp>
      <p:sp>
        <p:nvSpPr>
          <p:cNvPr id="267" name="Rectangle 12"/>
          <p:cNvSpPr>
            <a:spLocks/>
          </p:cNvSpPr>
          <p:nvPr>
            <p:custDataLst>
              <p:tags r:id="rId50"/>
            </p:custDataLst>
          </p:nvPr>
        </p:nvSpPr>
        <p:spPr bwMode="auto">
          <a:xfrm>
            <a:off x="452437" y="5540375"/>
            <a:ext cx="11144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Testing and Pilot</a:t>
            </a:r>
            <a:endParaRPr lang="de-DE" sz="1200" dirty="0">
              <a:solidFill>
                <a:schemeClr val="tx1"/>
              </a:solidFill>
              <a:cs typeface="Arial"/>
              <a:sym typeface="Arial"/>
            </a:endParaRPr>
          </a:p>
        </p:txBody>
      </p:sp>
      <p:sp useBgFill="1">
        <p:nvSpPr>
          <p:cNvPr id="132" name="Rechteck 131"/>
          <p:cNvSpPr/>
          <p:nvPr>
            <p:custDataLst>
              <p:tags r:id="rId51"/>
            </p:custDataLst>
          </p:nvPr>
        </p:nvSpPr>
        <p:spPr bwMode="auto">
          <a:xfrm>
            <a:off x="8307387" y="5999162"/>
            <a:ext cx="1052512" cy="152400"/>
          </a:xfrm>
          <a:prstGeom prst="rect">
            <a:avLst/>
          </a:prstGeom>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1000" dirty="0" smtClean="0">
                <a:cs typeface="Arial"/>
              </a:rPr>
              <a:t>Future Conference</a:t>
            </a:r>
            <a:endParaRPr lang="de-DE" sz="1000" dirty="0" smtClean="0">
              <a:latin typeface="Arial"/>
              <a:cs typeface="Arial"/>
              <a:sym typeface="Arial"/>
            </a:endParaRPr>
          </a:p>
        </p:txBody>
      </p:sp>
      <p:sp>
        <p:nvSpPr>
          <p:cNvPr id="79" name="Rectangle 12"/>
          <p:cNvSpPr>
            <a:spLocks/>
          </p:cNvSpPr>
          <p:nvPr>
            <p:custDataLst>
              <p:tags r:id="rId52"/>
            </p:custDataLst>
          </p:nvPr>
        </p:nvSpPr>
        <p:spPr bwMode="auto">
          <a:xfrm>
            <a:off x="452437" y="5829300"/>
            <a:ext cx="12842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Training/ Handover</a:t>
            </a:r>
            <a:endParaRPr lang="de-DE" sz="1200" dirty="0">
              <a:solidFill>
                <a:schemeClr val="tx1"/>
              </a:solidFill>
              <a:latin typeface="Arial"/>
              <a:cs typeface="Arial"/>
              <a:sym typeface="Arial"/>
            </a:endParaRPr>
          </a:p>
        </p:txBody>
      </p:sp>
      <p:sp>
        <p:nvSpPr>
          <p:cNvPr id="67" name="Rectangle 13"/>
          <p:cNvSpPr/>
          <p:nvPr>
            <p:custDataLst>
              <p:tags r:id="rId53"/>
            </p:custDataLst>
          </p:nvPr>
        </p:nvSpPr>
        <p:spPr bwMode="auto">
          <a:xfrm>
            <a:off x="452437" y="1268412"/>
            <a:ext cx="676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200" b="1" dirty="0" smtClean="0">
                <a:solidFill>
                  <a:schemeClr val="tx1"/>
                </a:solidFill>
                <a:cs typeface="Arial"/>
              </a:rPr>
              <a:t>Activities</a:t>
            </a:r>
            <a:endParaRPr lang="de-DE" b="1" dirty="0">
              <a:solidFill>
                <a:schemeClr val="tx1"/>
              </a:solidFill>
              <a:latin typeface="Arial"/>
              <a:cs typeface="Arial"/>
              <a:sym typeface="Arial"/>
            </a:endParaRPr>
          </a:p>
        </p:txBody>
      </p:sp>
      <p:sp>
        <p:nvSpPr>
          <p:cNvPr id="73" name="Rectangle 12"/>
          <p:cNvSpPr>
            <a:spLocks/>
          </p:cNvSpPr>
          <p:nvPr>
            <p:custDataLst>
              <p:tags r:id="rId54"/>
            </p:custDataLst>
          </p:nvPr>
        </p:nvSpPr>
        <p:spPr bwMode="auto">
          <a:xfrm>
            <a:off x="452437" y="4962525"/>
            <a:ext cx="7699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sym typeface="Arial"/>
              </a:rPr>
              <a:t>First Phase</a:t>
            </a:r>
            <a:endParaRPr lang="de-DE" sz="1200" dirty="0">
              <a:solidFill>
                <a:schemeClr val="tx1"/>
              </a:solidFill>
              <a:latin typeface="Arial"/>
              <a:cs typeface="Arial"/>
              <a:sym typeface="Arial"/>
            </a:endParaRPr>
          </a:p>
        </p:txBody>
      </p:sp>
      <p:sp>
        <p:nvSpPr>
          <p:cNvPr id="108" name="Rechteck 107"/>
          <p:cNvSpPr/>
          <p:nvPr>
            <p:custDataLst>
              <p:tags r:id="rId55"/>
            </p:custDataLst>
          </p:nvPr>
        </p:nvSpPr>
        <p:spPr bwMode="auto">
          <a:xfrm>
            <a:off x="7189787" y="1897062"/>
            <a:ext cx="625475" cy="122237"/>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800" dirty="0" smtClean="0"/>
              <a:t>Status Report</a:t>
            </a:r>
            <a:endParaRPr lang="de-DE" sz="800" dirty="0" smtClean="0">
              <a:latin typeface="Arial"/>
              <a:sym typeface="Arial"/>
            </a:endParaRPr>
          </a:p>
        </p:txBody>
      </p:sp>
      <p:sp>
        <p:nvSpPr>
          <p:cNvPr id="66" name="Rectangle 11"/>
          <p:cNvSpPr>
            <a:spLocks/>
          </p:cNvSpPr>
          <p:nvPr>
            <p:custDataLst>
              <p:tags r:id="rId56"/>
            </p:custDataLst>
          </p:nvPr>
        </p:nvSpPr>
        <p:spPr bwMode="gray">
          <a:xfrm>
            <a:off x="452438" y="4643437"/>
            <a:ext cx="1112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b="1" dirty="0" smtClean="0">
                <a:solidFill>
                  <a:schemeClr val="bg1"/>
                </a:solidFill>
                <a:sym typeface="+mn-lt"/>
              </a:rPr>
              <a:t>Development</a:t>
            </a:r>
            <a:endParaRPr lang="de-DE" sz="1400" b="1" dirty="0">
              <a:solidFill>
                <a:schemeClr val="bg1"/>
              </a:solidFill>
              <a:sym typeface="+mn-lt"/>
            </a:endParaRPr>
          </a:p>
        </p:txBody>
      </p:sp>
      <p:sp>
        <p:nvSpPr>
          <p:cNvPr id="268" name="Rectangle 12"/>
          <p:cNvSpPr>
            <a:spLocks/>
          </p:cNvSpPr>
          <p:nvPr>
            <p:custDataLst>
              <p:tags r:id="rId57"/>
            </p:custDataLst>
          </p:nvPr>
        </p:nvSpPr>
        <p:spPr bwMode="auto">
          <a:xfrm>
            <a:off x="452436" y="4300537"/>
            <a:ext cx="15684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mn-lt"/>
              </a:rPr>
              <a:t>Alignment and Release</a:t>
            </a:r>
            <a:endParaRPr lang="de-DE" sz="1200" dirty="0">
              <a:solidFill>
                <a:schemeClr val="tx1"/>
              </a:solidFill>
              <a:sym typeface="+mn-lt"/>
            </a:endParaRPr>
          </a:p>
        </p:txBody>
      </p:sp>
      <p:sp useBgFill="1">
        <p:nvSpPr>
          <p:cNvPr id="78" name="Rectangle 201"/>
          <p:cNvSpPr/>
          <p:nvPr>
            <p:custDataLst>
              <p:tags r:id="rId58"/>
            </p:custDataLst>
          </p:nvPr>
        </p:nvSpPr>
        <p:spPr bwMode="auto">
          <a:xfrm>
            <a:off x="3514725" y="1881187"/>
            <a:ext cx="450850" cy="152400"/>
          </a:xfrm>
          <a:prstGeom prst="rect">
            <a:avLst/>
          </a:prstGeom>
          <a:solidFill>
            <a:srgbClr val="EEEE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000" dirty="0" smtClean="0">
                <a:solidFill>
                  <a:schemeClr val="tx1"/>
                </a:solidFill>
                <a:sym typeface="+mn-lt"/>
              </a:rPr>
              <a:t>Kick-Off</a:t>
            </a:r>
            <a:endParaRPr lang="de-DE" sz="1000" dirty="0">
              <a:solidFill>
                <a:schemeClr val="tx1"/>
              </a:solidFill>
              <a:sym typeface="+mn-lt"/>
            </a:endParaRPr>
          </a:p>
        </p:txBody>
      </p:sp>
      <p:sp>
        <p:nvSpPr>
          <p:cNvPr id="199" name="Rectangle 12"/>
          <p:cNvSpPr>
            <a:spLocks/>
          </p:cNvSpPr>
          <p:nvPr>
            <p:custDataLst>
              <p:tags r:id="rId59"/>
            </p:custDataLst>
          </p:nvPr>
        </p:nvSpPr>
        <p:spPr bwMode="auto">
          <a:xfrm>
            <a:off x="452436" y="4011612"/>
            <a:ext cx="13700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Arial"/>
              </a:rPr>
              <a:t>Adjustment of specs</a:t>
            </a:r>
            <a:endParaRPr lang="de-DE" sz="1200" dirty="0">
              <a:solidFill>
                <a:schemeClr val="tx1"/>
              </a:solidFill>
              <a:latin typeface="Arial"/>
              <a:sym typeface="Arial"/>
            </a:endParaRPr>
          </a:p>
        </p:txBody>
      </p:sp>
      <p:sp>
        <p:nvSpPr>
          <p:cNvPr id="101" name="Rechteck 100"/>
          <p:cNvSpPr/>
          <p:nvPr>
            <p:custDataLst>
              <p:tags r:id="rId60"/>
            </p:custDataLst>
          </p:nvPr>
        </p:nvSpPr>
        <p:spPr bwMode="auto">
          <a:xfrm>
            <a:off x="4740275" y="1897062"/>
            <a:ext cx="625475" cy="122237"/>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800" dirty="0" smtClean="0"/>
              <a:t>Status Report</a:t>
            </a:r>
            <a:endParaRPr lang="de-DE" sz="800" dirty="0" smtClean="0">
              <a:latin typeface="Arial"/>
              <a:sym typeface="Arial"/>
            </a:endParaRPr>
          </a:p>
        </p:txBody>
      </p:sp>
      <p:sp>
        <p:nvSpPr>
          <p:cNvPr id="265" name="Rectangle 12"/>
          <p:cNvSpPr>
            <a:spLocks/>
          </p:cNvSpPr>
          <p:nvPr>
            <p:custDataLst>
              <p:tags r:id="rId61"/>
            </p:custDataLst>
          </p:nvPr>
        </p:nvSpPr>
        <p:spPr bwMode="auto">
          <a:xfrm>
            <a:off x="452436" y="3722687"/>
            <a:ext cx="14255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mn-lt"/>
              </a:rPr>
              <a:t>Kick-Off/ Mobilization</a:t>
            </a:r>
            <a:endParaRPr lang="de-DE" sz="1200" dirty="0">
              <a:solidFill>
                <a:schemeClr val="tx1"/>
              </a:solidFill>
              <a:sym typeface="+mn-lt"/>
            </a:endParaRPr>
          </a:p>
        </p:txBody>
      </p:sp>
      <p:grpSp>
        <p:nvGrpSpPr>
          <p:cNvPr id="2" name="Gruppieren 63"/>
          <p:cNvGrpSpPr/>
          <p:nvPr/>
        </p:nvGrpSpPr>
        <p:grpSpPr>
          <a:xfrm>
            <a:off x="-550" y="1267200"/>
            <a:ext cx="180550" cy="1004350"/>
            <a:chOff x="-550" y="1260000"/>
            <a:chExt cx="180550" cy="1004350"/>
          </a:xfrm>
        </p:grpSpPr>
        <p:sp>
          <p:nvSpPr>
            <p:cNvPr id="71" name="Rectangle 10">
              <a:hlinkClick r:id="" action="ppaction://noaction"/>
            </p:cNvPr>
            <p:cNvSpPr>
              <a:spLocks noChangeArrowheads="1"/>
            </p:cNvSpPr>
            <p:nvPr/>
          </p:nvSpPr>
          <p:spPr bwMode="auto">
            <a:xfrm>
              <a:off x="0" y="1622080"/>
              <a:ext cx="180000" cy="107950"/>
            </a:xfrm>
            <a:prstGeom prst="rect">
              <a:avLst/>
            </a:prstGeom>
            <a:solidFill>
              <a:srgbClr val="E5EAF3"/>
            </a:solidFill>
            <a:ln w="9525" algn="ctr">
              <a:noFill/>
              <a:miter lim="800000"/>
              <a:headEnd/>
              <a:tailEnd/>
            </a:ln>
            <a:effectLst/>
          </p:spPr>
          <p:txBody>
            <a:bodyPr wrap="none" anchor="ctr"/>
            <a:lstStyle/>
            <a:p>
              <a:endParaRPr lang="en-US" dirty="0"/>
            </a:p>
          </p:txBody>
        </p:sp>
        <p:sp>
          <p:nvSpPr>
            <p:cNvPr id="81" name="Rectangle 11">
              <a:hlinkClick r:id="" action="ppaction://noaction"/>
            </p:cNvPr>
            <p:cNvSpPr>
              <a:spLocks noChangeArrowheads="1"/>
            </p:cNvSpPr>
            <p:nvPr/>
          </p:nvSpPr>
          <p:spPr bwMode="auto">
            <a:xfrm>
              <a:off x="0" y="12600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3" name="Rectangle 20">
              <a:hlinkClick r:id="" action="ppaction://noaction"/>
            </p:cNvPr>
            <p:cNvSpPr>
              <a:spLocks noChangeArrowheads="1"/>
            </p:cNvSpPr>
            <p:nvPr/>
          </p:nvSpPr>
          <p:spPr bwMode="auto">
            <a:xfrm>
              <a:off x="0" y="144104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4" name="Rectangle 11">
              <a:hlinkClick r:id="" action="ppaction://noaction"/>
            </p:cNvPr>
            <p:cNvSpPr>
              <a:spLocks noChangeArrowheads="1"/>
            </p:cNvSpPr>
            <p:nvPr/>
          </p:nvSpPr>
          <p:spPr bwMode="auto">
            <a:xfrm>
              <a:off x="-550" y="1796635"/>
              <a:ext cx="180000" cy="107950"/>
            </a:xfrm>
            <a:prstGeom prst="rect">
              <a:avLst/>
            </a:prstGeom>
            <a:solidFill>
              <a:srgbClr val="E5EAF3"/>
            </a:solidFill>
            <a:ln w="9525" algn="ctr">
              <a:noFill/>
              <a:miter lim="800000"/>
              <a:headEnd/>
              <a:tailEnd/>
            </a:ln>
            <a:effectLst/>
          </p:spPr>
          <p:txBody>
            <a:bodyPr wrap="none" anchor="ctr"/>
            <a:lstStyle/>
            <a:p>
              <a:pPr>
                <a:lnSpc>
                  <a:spcPts val="2000"/>
                </a:lnSpc>
              </a:pPr>
              <a:endParaRPr lang="en-US" dirty="0" smtClean="0"/>
            </a:p>
          </p:txBody>
        </p:sp>
        <p:sp>
          <p:nvSpPr>
            <p:cNvPr id="87" name="Rectangle 20">
              <a:hlinkClick r:id="" action="ppaction://noaction"/>
            </p:cNvPr>
            <p:cNvSpPr>
              <a:spLocks noChangeArrowheads="1"/>
            </p:cNvSpPr>
            <p:nvPr/>
          </p:nvSpPr>
          <p:spPr bwMode="auto">
            <a:xfrm>
              <a:off x="-550" y="1977675"/>
              <a:ext cx="180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93" name="Rectangle 20">
              <a:hlinkClick r:id="" action="ppaction://noaction"/>
            </p:cNvPr>
            <p:cNvSpPr>
              <a:spLocks noChangeArrowheads="1"/>
            </p:cNvSpPr>
            <p:nvPr/>
          </p:nvSpPr>
          <p:spPr bwMode="auto">
            <a:xfrm>
              <a:off x="-550" y="21564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gr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kt 89" hidden="1"/>
          <p:cNvGraphicFramePr>
            <a:graphicFrameLocks noChangeAspect="1"/>
          </p:cNvGraphicFramePr>
          <p:nvPr/>
        </p:nvGraphicFramePr>
        <p:xfrm>
          <a:off x="1587" y="1588"/>
          <a:ext cx="1587" cy="1587"/>
        </p:xfrm>
        <a:graphic>
          <a:graphicData uri="http://schemas.openxmlformats.org/presentationml/2006/ole">
            <p:oleObj spid="_x0000_s144386" name="think-cell Slide" r:id="rId63" imgW="360" imgH="360" progId="TCLayout.ActiveDocument.1">
              <p:embed/>
            </p:oleObj>
          </a:graphicData>
        </a:graphic>
      </p:graphicFrame>
      <p:sp>
        <p:nvSpPr>
          <p:cNvPr id="80" name="Rechteck 79" hidden="1"/>
          <p:cNvSpPr/>
          <p:nvPr>
            <p:custDataLst>
              <p:tags r:id="rId2"/>
            </p:custDataLst>
          </p:nvPr>
        </p:nvSpPr>
        <p:spPr bwMode="auto">
          <a:xfrm>
            <a:off x="0" y="0"/>
            <a:ext cx="158750" cy="158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de-DE" sz="1000" b="1">
              <a:latin typeface="Arial"/>
              <a:cs typeface="Arial"/>
              <a:sym typeface="Arial"/>
            </a:endParaRPr>
          </a:p>
        </p:txBody>
      </p:sp>
      <p:sp>
        <p:nvSpPr>
          <p:cNvPr id="5" name="Title 4"/>
          <p:cNvSpPr>
            <a:spLocks noGrp="1"/>
          </p:cNvSpPr>
          <p:nvPr>
            <p:ph type="title"/>
          </p:nvPr>
        </p:nvSpPr>
        <p:spPr/>
        <p:txBody>
          <a:bodyPr/>
          <a:lstStyle/>
          <a:p>
            <a:r>
              <a:rPr lang="en-GB" sz="1600" b="0" dirty="0" smtClean="0"/>
              <a:t>Project Timeline -PMC</a:t>
            </a:r>
            <a:r>
              <a:rPr lang="en-GB" dirty="0" smtClean="0"/>
              <a:t/>
            </a:r>
            <a:br>
              <a:rPr lang="en-GB" dirty="0" smtClean="0"/>
            </a:br>
            <a:r>
              <a:rPr lang="en-GB" dirty="0" smtClean="0"/>
              <a:t>The analysis phase will be conducted in a four week timeframe and is split into three distinctive work streams. </a:t>
            </a:r>
            <a:endParaRPr lang="en-GB" dirty="0"/>
          </a:p>
        </p:txBody>
      </p:sp>
      <p:sp>
        <p:nvSpPr>
          <p:cNvPr id="8" name="Textplatzhalter 7"/>
          <p:cNvSpPr>
            <a:spLocks noGrp="1"/>
          </p:cNvSpPr>
          <p:nvPr>
            <p:ph type="body" sz="quarter" idx="14"/>
          </p:nvPr>
        </p:nvSpPr>
        <p:spPr/>
        <p:txBody>
          <a:bodyPr/>
          <a:lstStyle/>
          <a:p>
            <a:endParaRPr lang="de-DE"/>
          </a:p>
        </p:txBody>
      </p:sp>
      <p:sp>
        <p:nvSpPr>
          <p:cNvPr id="7" name="Textplatzhalter 6"/>
          <p:cNvSpPr>
            <a:spLocks noGrp="1"/>
          </p:cNvSpPr>
          <p:nvPr>
            <p:ph type="body" sz="quarter" idx="13"/>
          </p:nvPr>
        </p:nvSpPr>
        <p:spPr/>
        <p:txBody>
          <a:bodyPr/>
          <a:lstStyle/>
          <a:p>
            <a:endParaRPr lang="de-DE"/>
          </a:p>
        </p:txBody>
      </p:sp>
      <p:sp>
        <p:nvSpPr>
          <p:cNvPr id="9" name="Rectangle 195"/>
          <p:cNvSpPr/>
          <p:nvPr>
            <p:custDataLst>
              <p:tags r:id="rId3"/>
            </p:custDataLst>
          </p:nvPr>
        </p:nvSpPr>
        <p:spPr bwMode="auto">
          <a:xfrm>
            <a:off x="273050" y="1474787"/>
            <a:ext cx="9259887" cy="344487"/>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52" name="Rechteck 151"/>
          <p:cNvSpPr/>
          <p:nvPr>
            <p:custDataLst>
              <p:tags r:id="rId4"/>
            </p:custDataLst>
          </p:nvPr>
        </p:nvSpPr>
        <p:spPr bwMode="auto">
          <a:xfrm>
            <a:off x="273050" y="2135187"/>
            <a:ext cx="9259887" cy="322262"/>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1" name="Rectangle 198"/>
          <p:cNvSpPr/>
          <p:nvPr>
            <p:custDataLst>
              <p:tags r:id="rId5"/>
            </p:custDataLst>
          </p:nvPr>
        </p:nvSpPr>
        <p:spPr bwMode="auto">
          <a:xfrm>
            <a:off x="273050" y="1819275"/>
            <a:ext cx="9259887" cy="315912"/>
          </a:xfrm>
          <a:prstGeom prst="rect">
            <a:avLst/>
          </a:prstGeom>
          <a:solidFill>
            <a:srgbClr val="EEEE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85" name="Rechteck 184"/>
          <p:cNvSpPr/>
          <p:nvPr>
            <p:custDataLst>
              <p:tags r:id="rId6"/>
            </p:custDataLst>
          </p:nvPr>
        </p:nvSpPr>
        <p:spPr bwMode="auto">
          <a:xfrm>
            <a:off x="273050" y="3373437"/>
            <a:ext cx="9259887" cy="271462"/>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81" name="Rechteck 180"/>
          <p:cNvSpPr/>
          <p:nvPr>
            <p:custDataLst>
              <p:tags r:id="rId7"/>
            </p:custDataLst>
          </p:nvPr>
        </p:nvSpPr>
        <p:spPr bwMode="auto">
          <a:xfrm>
            <a:off x="273050" y="4586287"/>
            <a:ext cx="9259887" cy="298450"/>
          </a:xfrm>
          <a:prstGeom prst="rect">
            <a:avLst/>
          </a:prstGeom>
          <a:solidFill>
            <a:srgbClr val="4066A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192" name="Rectangle 131"/>
          <p:cNvSpPr>
            <a:spLocks/>
          </p:cNvSpPr>
          <p:nvPr>
            <p:custDataLst>
              <p:tags r:id="rId8"/>
            </p:custDataLst>
          </p:nvPr>
        </p:nvSpPr>
        <p:spPr bwMode="auto">
          <a:xfrm>
            <a:off x="3408362" y="1274762"/>
            <a:ext cx="700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BC010FE9-93BD-48AD-95A2-B93821C4CD75}" type="datetime'''''''''''''''''''''J''''''''''''''''''''''''''''a''''''n''.'">
              <a:rPr lang="en-US" sz="1000" b="1" smtClean="0">
                <a:solidFill>
                  <a:schemeClr val="tx1"/>
                </a:solidFill>
                <a:cs typeface="Arial"/>
              </a:rPr>
              <a:pPr algn="ctr">
                <a:spcBef>
                  <a:spcPct val="0"/>
                </a:spcBef>
                <a:spcAft>
                  <a:spcPct val="0"/>
                </a:spcAft>
              </a:pPr>
              <a:t>Jan.</a:t>
            </a:fld>
            <a:endParaRPr lang="de-DE" sz="1000" b="1" dirty="0">
              <a:solidFill>
                <a:schemeClr val="tx1"/>
              </a:solidFill>
              <a:latin typeface="Arial"/>
              <a:cs typeface="Arial"/>
              <a:sym typeface="Arial"/>
            </a:endParaRPr>
          </a:p>
        </p:txBody>
      </p:sp>
      <p:sp>
        <p:nvSpPr>
          <p:cNvPr id="193" name="Rectangle 131"/>
          <p:cNvSpPr>
            <a:spLocks/>
          </p:cNvSpPr>
          <p:nvPr>
            <p:custDataLst>
              <p:tags r:id="rId9"/>
            </p:custDataLst>
          </p:nvPr>
        </p:nvSpPr>
        <p:spPr bwMode="auto">
          <a:xfrm>
            <a:off x="4108450" y="1274762"/>
            <a:ext cx="48990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41C2048-8BFA-4DD9-98A0-D4A558AD188D}" type="datetime'''''''''''''''''F''e''''''''br''''''''''''.'''''''''''''''''''">
              <a:rPr lang="en-US" sz="1000" b="1" smtClean="0">
                <a:solidFill>
                  <a:schemeClr val="tx1"/>
                </a:solidFill>
                <a:cs typeface="Arial"/>
              </a:rPr>
              <a:pPr algn="ctr">
                <a:spcBef>
                  <a:spcPct val="0"/>
                </a:spcBef>
                <a:spcAft>
                  <a:spcPct val="0"/>
                </a:spcAft>
              </a:pPr>
              <a:t>Febr.</a:t>
            </a:fld>
            <a:endParaRPr lang="de-DE" sz="1000" b="1" dirty="0">
              <a:solidFill>
                <a:schemeClr val="tx1"/>
              </a:solidFill>
              <a:latin typeface="Arial"/>
              <a:cs typeface="Arial"/>
              <a:sym typeface="Arial"/>
            </a:endParaRPr>
          </a:p>
        </p:txBody>
      </p:sp>
      <p:sp>
        <p:nvSpPr>
          <p:cNvPr id="194" name="Rectangle 131"/>
          <p:cNvSpPr>
            <a:spLocks/>
          </p:cNvSpPr>
          <p:nvPr>
            <p:custDataLst>
              <p:tags r:id="rId10"/>
            </p:custDataLst>
          </p:nvPr>
        </p:nvSpPr>
        <p:spPr bwMode="auto">
          <a:xfrm>
            <a:off x="9007475" y="1274762"/>
            <a:ext cx="52546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765579B-BC1F-462C-A784-2D3DDDD07B8E}" type="datetime'''''''''''''''''''Mä''''''''''''''r''''z'''''''''''''">
              <a:rPr lang="en-US" sz="1000" b="1" smtClean="0">
                <a:solidFill>
                  <a:schemeClr val="tx1"/>
                </a:solidFill>
                <a:cs typeface="Arial"/>
              </a:rPr>
              <a:pPr algn="ctr">
                <a:spcBef>
                  <a:spcPct val="0"/>
                </a:spcBef>
                <a:spcAft>
                  <a:spcPct val="0"/>
                </a:spcAft>
              </a:pPr>
              <a:t>März</a:t>
            </a:fld>
            <a:endParaRPr lang="de-DE" sz="1000" b="1" dirty="0">
              <a:solidFill>
                <a:schemeClr val="tx1"/>
              </a:solidFill>
              <a:latin typeface="Arial"/>
              <a:cs typeface="Arial"/>
              <a:sym typeface="Arial"/>
            </a:endParaRPr>
          </a:p>
        </p:txBody>
      </p:sp>
      <p:cxnSp>
        <p:nvCxnSpPr>
          <p:cNvPr id="91" name="Straight Connector 90"/>
          <p:cNvCxnSpPr/>
          <p:nvPr>
            <p:custDataLst>
              <p:tags r:id="rId11"/>
            </p:custDataLst>
          </p:nvPr>
        </p:nvCxnSpPr>
        <p:spPr bwMode="auto">
          <a:xfrm>
            <a:off x="9532937" y="1474787"/>
            <a:ext cx="0" cy="468947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12"/>
            </p:custDataLst>
          </p:nvPr>
        </p:nvCxnSpPr>
        <p:spPr bwMode="auto">
          <a:xfrm>
            <a:off x="273050" y="1474787"/>
            <a:ext cx="0" cy="468947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13"/>
            </p:custDataLst>
          </p:nvPr>
        </p:nvCxnSpPr>
        <p:spPr bwMode="auto">
          <a:xfrm>
            <a:off x="3408362" y="1474787"/>
            <a:ext cx="0" cy="468947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4"/>
            </p:custDataLst>
          </p:nvPr>
        </p:nvCxnSpPr>
        <p:spPr bwMode="auto">
          <a:xfrm>
            <a:off x="273050" y="2135187"/>
            <a:ext cx="9259887"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5"/>
            </p:custDataLst>
          </p:nvPr>
        </p:nvCxnSpPr>
        <p:spPr bwMode="auto">
          <a:xfrm>
            <a:off x="273050" y="4586287"/>
            <a:ext cx="9259887"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6"/>
            </p:custDataLst>
          </p:nvPr>
        </p:nvCxnSpPr>
        <p:spPr bwMode="auto">
          <a:xfrm>
            <a:off x="273050" y="6164262"/>
            <a:ext cx="9259887"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7"/>
            </p:custDataLst>
          </p:nvPr>
        </p:nvCxnSpPr>
        <p:spPr bwMode="gray">
          <a:xfrm>
            <a:off x="3408362" y="1474787"/>
            <a:ext cx="0" cy="4689475"/>
          </a:xfrm>
          <a:prstGeom prst="line">
            <a:avLst/>
          </a:prstGeom>
          <a:ln w="19050">
            <a:solidFill>
              <a:srgbClr val="C84E00"/>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p:custDataLst>
              <p:tags r:id="rId18"/>
            </p:custDataLst>
          </p:nvPr>
        </p:nvCxnSpPr>
        <p:spPr bwMode="gray">
          <a:xfrm>
            <a:off x="8307387" y="1474787"/>
            <a:ext cx="0" cy="4689475"/>
          </a:xfrm>
          <a:prstGeom prst="line">
            <a:avLst/>
          </a:prstGeom>
          <a:ln w="19050">
            <a:solidFill>
              <a:srgbClr val="C84E00"/>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p:custDataLst>
              <p:tags r:id="rId19"/>
            </p:custDataLst>
          </p:nvPr>
        </p:nvCxnSpPr>
        <p:spPr bwMode="gray">
          <a:xfrm>
            <a:off x="7083425" y="1474787"/>
            <a:ext cx="0" cy="4689475"/>
          </a:xfrm>
          <a:prstGeom prst="line">
            <a:avLst/>
          </a:prstGeom>
          <a:ln w="19050">
            <a:solidFill>
              <a:srgbClr val="002D8D"/>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custDataLst>
              <p:tags r:id="rId20"/>
            </p:custDataLst>
          </p:nvPr>
        </p:nvCxnSpPr>
        <p:spPr bwMode="gray">
          <a:xfrm>
            <a:off x="5857875" y="1474787"/>
            <a:ext cx="0" cy="4689475"/>
          </a:xfrm>
          <a:prstGeom prst="line">
            <a:avLst/>
          </a:prstGeom>
          <a:ln w="19050">
            <a:solidFill>
              <a:srgbClr val="002D8D"/>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custDataLst>
              <p:tags r:id="rId21"/>
            </p:custDataLst>
          </p:nvPr>
        </p:nvCxnSpPr>
        <p:spPr bwMode="gray">
          <a:xfrm>
            <a:off x="4633912" y="1474787"/>
            <a:ext cx="0" cy="4689475"/>
          </a:xfrm>
          <a:prstGeom prst="line">
            <a:avLst/>
          </a:prstGeom>
          <a:ln w="19050">
            <a:solidFill>
              <a:srgbClr val="002D8D"/>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22"/>
            </p:custDataLst>
          </p:nvPr>
        </p:nvCxnSpPr>
        <p:spPr bwMode="auto">
          <a:xfrm>
            <a:off x="273050" y="1474787"/>
            <a:ext cx="9259887"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82" name="Richtungspfeil 81"/>
          <p:cNvSpPr/>
          <p:nvPr>
            <p:custDataLst>
              <p:tags r:id="rId23"/>
            </p:custDataLst>
          </p:nvPr>
        </p:nvSpPr>
        <p:spPr bwMode="auto">
          <a:xfrm>
            <a:off x="5508625" y="3087687"/>
            <a:ext cx="104933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487" tIns="46037" rIns="0" bIns="46037" rtlCol="0" anchor="ctr" anchorCtr="0">
            <a:noAutofit/>
          </a:bodyPr>
          <a:lstStyle/>
          <a:p>
            <a:pPr>
              <a:spcBef>
                <a:spcPct val="0"/>
              </a:spcBef>
              <a:spcAft>
                <a:spcPct val="0"/>
              </a:spcAft>
            </a:pPr>
            <a:endParaRPr lang="de-DE" sz="1000">
              <a:solidFill>
                <a:schemeClr val="tx1"/>
              </a:solidFill>
              <a:latin typeface="Arial"/>
              <a:cs typeface="Arial"/>
              <a:sym typeface="Arial"/>
            </a:endParaRPr>
          </a:p>
        </p:txBody>
      </p:sp>
      <p:sp>
        <p:nvSpPr>
          <p:cNvPr id="119" name="Richtungspfeil 118"/>
          <p:cNvSpPr/>
          <p:nvPr>
            <p:custDataLst>
              <p:tags r:id="rId24"/>
            </p:custDataLst>
          </p:nvPr>
        </p:nvSpPr>
        <p:spPr bwMode="auto">
          <a:xfrm>
            <a:off x="3413125" y="4937125"/>
            <a:ext cx="1395412"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21" name="Richtungspfeil 120"/>
          <p:cNvSpPr/>
          <p:nvPr>
            <p:custDataLst>
              <p:tags r:id="rId25"/>
            </p:custDataLst>
          </p:nvPr>
        </p:nvSpPr>
        <p:spPr bwMode="auto">
          <a:xfrm>
            <a:off x="6383337" y="5514975"/>
            <a:ext cx="1749425"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19050"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14" name="Richtungspfeil 113"/>
          <p:cNvSpPr/>
          <p:nvPr>
            <p:custDataLst>
              <p:tags r:id="rId26"/>
            </p:custDataLst>
          </p:nvPr>
        </p:nvSpPr>
        <p:spPr bwMode="auto">
          <a:xfrm>
            <a:off x="3413125" y="2509837"/>
            <a:ext cx="122078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20" name="Richtungspfeil 119"/>
          <p:cNvSpPr/>
          <p:nvPr>
            <p:custDataLst>
              <p:tags r:id="rId27"/>
            </p:custDataLst>
          </p:nvPr>
        </p:nvSpPr>
        <p:spPr bwMode="auto">
          <a:xfrm>
            <a:off x="4633912" y="5226050"/>
            <a:ext cx="2449512"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270" name="Richtungspfeil 269"/>
          <p:cNvSpPr/>
          <p:nvPr>
            <p:custDataLst>
              <p:tags r:id="rId28"/>
            </p:custDataLst>
          </p:nvPr>
        </p:nvSpPr>
        <p:spPr bwMode="auto">
          <a:xfrm>
            <a:off x="4633912" y="2798762"/>
            <a:ext cx="874712"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269" name="Richtungspfeil 268"/>
          <p:cNvSpPr/>
          <p:nvPr>
            <p:custDataLst>
              <p:tags r:id="rId29"/>
            </p:custDataLst>
          </p:nvPr>
        </p:nvSpPr>
        <p:spPr bwMode="auto">
          <a:xfrm>
            <a:off x="4983162" y="3697287"/>
            <a:ext cx="104933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30" name="Richtungspfeil 129"/>
          <p:cNvSpPr/>
          <p:nvPr>
            <p:custDataLst>
              <p:tags r:id="rId30"/>
            </p:custDataLst>
          </p:nvPr>
        </p:nvSpPr>
        <p:spPr bwMode="auto">
          <a:xfrm>
            <a:off x="8132762" y="5803900"/>
            <a:ext cx="1395412" cy="233362"/>
          </a:xfrm>
          <a:prstGeom prst="homePlate">
            <a:avLst>
              <a:gd name="adj" fmla="val 18367"/>
            </a:avLst>
          </a:prstGeom>
          <a:solidFill>
            <a:srgbClr val="D6D7D9"/>
          </a:solidFill>
          <a:ln w="9525" algn="ctr">
            <a:solidFill>
              <a:schemeClr val="tx1"/>
            </a:solidFill>
            <a:prstDash val="dash"/>
            <a:miter lim="800000"/>
            <a:headEnd/>
            <a:tailEnd/>
          </a:ln>
          <a:effectLst/>
        </p:spPr>
        <p:txBody>
          <a:bodyPr wrap="square" lIns="90487" tIns="46037" rIns="0" bIns="46037" rtlCol="0" anchor="ctr" anchorCtr="0">
            <a:noAutofit/>
          </a:bodyPr>
          <a:lstStyle/>
          <a:p>
            <a:pPr fontAlgn="base">
              <a:spcBef>
                <a:spcPct val="0"/>
              </a:spcBef>
              <a:spcAft>
                <a:spcPct val="0"/>
              </a:spcAft>
            </a:pPr>
            <a:endParaRPr lang="de-DE" sz="1000" smtClean="0">
              <a:latin typeface="Arial"/>
              <a:cs typeface="Arial"/>
              <a:sym typeface="Arial"/>
            </a:endParaRPr>
          </a:p>
        </p:txBody>
      </p:sp>
      <p:sp>
        <p:nvSpPr>
          <p:cNvPr id="109" name="Pentagon 108"/>
          <p:cNvSpPr/>
          <p:nvPr>
            <p:custDataLst>
              <p:tags r:id="rId31"/>
            </p:custDataLst>
          </p:nvPr>
        </p:nvSpPr>
        <p:spPr bwMode="auto">
          <a:xfrm>
            <a:off x="7432675" y="4275137"/>
            <a:ext cx="700087"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20637" bIns="46037" rtlCol="0" anchor="ctr" anchorCtr="0">
            <a:noAutofit/>
          </a:bodyPr>
          <a:lstStyle/>
          <a:p>
            <a:pPr algn="ctr">
              <a:spcBef>
                <a:spcPct val="0"/>
              </a:spcBef>
              <a:spcAft>
                <a:spcPct val="0"/>
              </a:spcAft>
            </a:pPr>
            <a:endParaRPr lang="en-US" sz="1000" dirty="0">
              <a:solidFill>
                <a:schemeClr val="tx1"/>
              </a:solidFill>
              <a:latin typeface="Arial"/>
              <a:cs typeface="Arial"/>
              <a:sym typeface="Arial"/>
            </a:endParaRPr>
          </a:p>
        </p:txBody>
      </p:sp>
      <p:sp>
        <p:nvSpPr>
          <p:cNvPr id="200" name="Richtungspfeil 199"/>
          <p:cNvSpPr/>
          <p:nvPr>
            <p:custDataLst>
              <p:tags r:id="rId32"/>
            </p:custDataLst>
          </p:nvPr>
        </p:nvSpPr>
        <p:spPr bwMode="auto">
          <a:xfrm>
            <a:off x="6032500" y="3986212"/>
            <a:ext cx="1400175" cy="233362"/>
          </a:xfrm>
          <a:prstGeom prst="homePlate">
            <a:avLst>
              <a:gd name="adj" fmla="val 18367"/>
            </a:avLst>
          </a:prstGeom>
          <a:solidFill>
            <a:srgbClr val="84A9E4"/>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46037" rIns="19050" bIns="46037" rtlCol="0" anchor="ctr" anchorCtr="0">
            <a:noAutofit/>
          </a:bodyPr>
          <a:lstStyle/>
          <a:p>
            <a:pPr algn="ctr">
              <a:spcBef>
                <a:spcPct val="0"/>
              </a:spcBef>
              <a:spcAft>
                <a:spcPct val="0"/>
              </a:spcAft>
            </a:pPr>
            <a:endParaRPr lang="de-DE" sz="1000">
              <a:solidFill>
                <a:schemeClr val="tx1"/>
              </a:solidFill>
              <a:latin typeface="Arial"/>
              <a:cs typeface="Arial"/>
              <a:sym typeface="Arial"/>
            </a:endParaRPr>
          </a:p>
        </p:txBody>
      </p:sp>
      <p:sp>
        <p:nvSpPr>
          <p:cNvPr id="198" name="Rechteck 197"/>
          <p:cNvSpPr/>
          <p:nvPr>
            <p:custDataLst>
              <p:tags r:id="rId33"/>
            </p:custDataLst>
          </p:nvPr>
        </p:nvSpPr>
        <p:spPr bwMode="auto">
          <a:xfrm>
            <a:off x="3417887" y="1573212"/>
            <a:ext cx="6216650" cy="158750"/>
          </a:xfrm>
          <a:prstGeom prst="rightArrow">
            <a:avLst>
              <a:gd name="adj1" fmla="val 50000"/>
              <a:gd name="adj2" fmla="val 40657"/>
            </a:avLst>
          </a:prstGeom>
          <a:solidFill>
            <a:schemeClr val="bg1"/>
          </a:solidFill>
          <a:ln w="19050">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a:p>
        </p:txBody>
      </p:sp>
      <p:sp>
        <p:nvSpPr>
          <p:cNvPr id="98" name="Gleichschenkliges Dreieck 97"/>
          <p:cNvSpPr/>
          <p:nvPr>
            <p:custDataLst>
              <p:tags r:id="rId34"/>
            </p:custDataLst>
          </p:nvPr>
        </p:nvSpPr>
        <p:spPr bwMode="gray">
          <a:xfrm>
            <a:off x="8248650" y="1906587"/>
            <a:ext cx="119063" cy="103187"/>
          </a:xfrm>
          <a:prstGeom prst="triangle">
            <a:avLst>
              <a:gd name="adj" fmla="val 50000"/>
            </a:avLst>
          </a:prstGeom>
          <a:solidFill>
            <a:srgbClr val="C84E00"/>
          </a:solidFill>
          <a:ln w="19050" algn="ctr">
            <a:solidFill>
              <a:srgbClr val="C84E00"/>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12" name="Raute 111"/>
          <p:cNvSpPr/>
          <p:nvPr>
            <p:custDataLst>
              <p:tags r:id="rId35"/>
            </p:custDataLst>
          </p:nvPr>
        </p:nvSpPr>
        <p:spPr bwMode="gray">
          <a:xfrm>
            <a:off x="7024687" y="1898650"/>
            <a:ext cx="119062" cy="119062"/>
          </a:xfrm>
          <a:prstGeom prst="diamond">
            <a:avLst/>
          </a:prstGeom>
          <a:solidFill>
            <a:srgbClr val="002D8D"/>
          </a:solidFill>
          <a:ln w="19050" algn="ctr">
            <a:solidFill>
              <a:srgbClr val="002D8D"/>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06" name="Raute 105"/>
          <p:cNvSpPr/>
          <p:nvPr>
            <p:custDataLst>
              <p:tags r:id="rId36"/>
            </p:custDataLst>
          </p:nvPr>
        </p:nvSpPr>
        <p:spPr bwMode="gray">
          <a:xfrm>
            <a:off x="5799137" y="1898650"/>
            <a:ext cx="119063" cy="119063"/>
          </a:xfrm>
          <a:prstGeom prst="diamond">
            <a:avLst/>
          </a:prstGeom>
          <a:solidFill>
            <a:srgbClr val="002D8D"/>
          </a:solidFill>
          <a:ln w="19050" algn="ctr">
            <a:solidFill>
              <a:srgbClr val="002D8D"/>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03" name="Raute 102"/>
          <p:cNvSpPr/>
          <p:nvPr>
            <p:custDataLst>
              <p:tags r:id="rId37"/>
            </p:custDataLst>
          </p:nvPr>
        </p:nvSpPr>
        <p:spPr bwMode="gray">
          <a:xfrm>
            <a:off x="4575175" y="1898650"/>
            <a:ext cx="119063" cy="119062"/>
          </a:xfrm>
          <a:prstGeom prst="diamond">
            <a:avLst/>
          </a:prstGeom>
          <a:solidFill>
            <a:srgbClr val="002D8D"/>
          </a:solidFill>
          <a:ln w="19050" algn="ctr">
            <a:solidFill>
              <a:srgbClr val="002D8D"/>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131" name="Gleichschenkliges Dreieck 130"/>
          <p:cNvSpPr/>
          <p:nvPr>
            <p:custDataLst>
              <p:tags r:id="rId38"/>
            </p:custDataLst>
          </p:nvPr>
        </p:nvSpPr>
        <p:spPr bwMode="gray">
          <a:xfrm>
            <a:off x="8774112" y="5868987"/>
            <a:ext cx="119062" cy="103188"/>
          </a:xfrm>
          <a:prstGeom prst="triangle">
            <a:avLst>
              <a:gd name="adj" fmla="val 50000"/>
            </a:avLst>
          </a:prstGeom>
          <a:solidFill>
            <a:schemeClr val="tx1"/>
          </a:solidFill>
          <a:ln w="19050" algn="ctr">
            <a:solidFill>
              <a:schemeClr val="tx1"/>
            </a:solidFill>
            <a:miter lim="800000"/>
            <a:headEnd/>
            <a:tailEnd/>
          </a:ln>
          <a:effectLst/>
        </p:spPr>
        <p:txBody>
          <a:bodyPr wrap="none" rtlCol="0" anchor="ctr"/>
          <a:lstStyle/>
          <a:p>
            <a:pPr algn="ctr" fontAlgn="base">
              <a:lnSpc>
                <a:spcPts val="2000"/>
              </a:lnSpc>
              <a:spcBef>
                <a:spcPct val="0"/>
              </a:spcBef>
              <a:spcAft>
                <a:spcPct val="0"/>
              </a:spcAft>
            </a:pPr>
            <a:endParaRPr lang="de-DE" smtClean="0"/>
          </a:p>
        </p:txBody>
      </p:sp>
      <p:sp>
        <p:nvSpPr>
          <p:cNvPr id="65" name="Isosceles Triangle 192"/>
          <p:cNvSpPr/>
          <p:nvPr>
            <p:custDataLst>
              <p:tags r:id="rId39"/>
            </p:custDataLst>
          </p:nvPr>
        </p:nvSpPr>
        <p:spPr bwMode="gray">
          <a:xfrm>
            <a:off x="3349625" y="1906587"/>
            <a:ext cx="119063" cy="103188"/>
          </a:xfrm>
          <a:prstGeom prst="triangle">
            <a:avLst>
              <a:gd name="adj" fmla="val 50000"/>
            </a:avLst>
          </a:prstGeom>
          <a:solidFill>
            <a:srgbClr val="C84E00"/>
          </a:solidFill>
          <a:ln w="19050">
            <a:solidFill>
              <a:srgbClr val="C84E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0" name="Rectangle 12"/>
          <p:cNvSpPr>
            <a:spLocks/>
          </p:cNvSpPr>
          <p:nvPr>
            <p:custDataLst>
              <p:tags r:id="rId40"/>
            </p:custDataLst>
          </p:nvPr>
        </p:nvSpPr>
        <p:spPr bwMode="gray">
          <a:xfrm>
            <a:off x="452438" y="3403600"/>
            <a:ext cx="8667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b="1" dirty="0" smtClean="0">
                <a:solidFill>
                  <a:schemeClr val="bg1"/>
                </a:solidFill>
                <a:sym typeface="+mn-lt"/>
              </a:rPr>
              <a:t>Alignment</a:t>
            </a:r>
            <a:endParaRPr lang="de-DE" sz="1400" b="1" dirty="0">
              <a:solidFill>
                <a:schemeClr val="bg1"/>
              </a:solidFill>
              <a:sym typeface="+mn-lt"/>
            </a:endParaRPr>
          </a:p>
        </p:txBody>
      </p:sp>
      <p:sp>
        <p:nvSpPr>
          <p:cNvPr id="77" name="Rectangle 7"/>
          <p:cNvSpPr>
            <a:spLocks/>
          </p:cNvSpPr>
          <p:nvPr>
            <p:custDataLst>
              <p:tags r:id="rId41"/>
            </p:custDataLst>
          </p:nvPr>
        </p:nvSpPr>
        <p:spPr bwMode="auto">
          <a:xfrm>
            <a:off x="452436" y="3113087"/>
            <a:ext cx="19843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Handover to Service Provider</a:t>
            </a:r>
            <a:endParaRPr lang="de-DE" sz="1200" dirty="0">
              <a:solidFill>
                <a:schemeClr val="tx1"/>
              </a:solidFill>
              <a:latin typeface="Arial"/>
              <a:cs typeface="Arial"/>
              <a:sym typeface="Arial"/>
            </a:endParaRPr>
          </a:p>
        </p:txBody>
      </p:sp>
      <p:sp>
        <p:nvSpPr>
          <p:cNvPr id="74" name="Rectangle 3"/>
          <p:cNvSpPr/>
          <p:nvPr>
            <p:custDataLst>
              <p:tags r:id="rId42"/>
            </p:custDataLst>
          </p:nvPr>
        </p:nvSpPr>
        <p:spPr bwMode="gray">
          <a:xfrm>
            <a:off x="452437" y="1554162"/>
            <a:ext cx="27765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b="1" dirty="0" smtClean="0">
                <a:solidFill>
                  <a:schemeClr val="bg1"/>
                </a:solidFill>
                <a:sym typeface="+mn-lt"/>
              </a:rPr>
              <a:t>Project and change management</a:t>
            </a:r>
            <a:endParaRPr lang="de-DE" sz="1400" b="1" dirty="0">
              <a:solidFill>
                <a:schemeClr val="bg1"/>
              </a:solidFill>
              <a:sym typeface="+mn-lt"/>
            </a:endParaRPr>
          </a:p>
        </p:txBody>
      </p:sp>
      <p:sp>
        <p:nvSpPr>
          <p:cNvPr id="75" name="Rectangle 7"/>
          <p:cNvSpPr>
            <a:spLocks/>
          </p:cNvSpPr>
          <p:nvPr>
            <p:custDataLst>
              <p:tags r:id="rId43"/>
            </p:custDataLst>
          </p:nvPr>
        </p:nvSpPr>
        <p:spPr bwMode="auto">
          <a:xfrm>
            <a:off x="452437" y="2824162"/>
            <a:ext cx="16970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Create specification docs</a:t>
            </a:r>
            <a:endParaRPr lang="de-DE" sz="1200" dirty="0">
              <a:solidFill>
                <a:schemeClr val="tx1"/>
              </a:solidFill>
              <a:latin typeface="Arial"/>
              <a:cs typeface="Arial"/>
              <a:sym typeface="Arial"/>
            </a:endParaRPr>
          </a:p>
        </p:txBody>
      </p:sp>
      <p:sp>
        <p:nvSpPr>
          <p:cNvPr id="105" name="Rechteck 104"/>
          <p:cNvSpPr/>
          <p:nvPr>
            <p:custDataLst>
              <p:tags r:id="rId44"/>
            </p:custDataLst>
          </p:nvPr>
        </p:nvSpPr>
        <p:spPr bwMode="auto">
          <a:xfrm>
            <a:off x="5964237" y="1897062"/>
            <a:ext cx="625475" cy="122237"/>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800" dirty="0" smtClean="0"/>
              <a:t>Status Report</a:t>
            </a:r>
            <a:endParaRPr lang="de-DE" sz="800" dirty="0" smtClean="0">
              <a:latin typeface="Arial"/>
              <a:sym typeface="Arial"/>
            </a:endParaRPr>
          </a:p>
        </p:txBody>
      </p:sp>
      <p:sp>
        <p:nvSpPr>
          <p:cNvPr id="113" name="Rectangle 7"/>
          <p:cNvSpPr>
            <a:spLocks/>
          </p:cNvSpPr>
          <p:nvPr>
            <p:custDataLst>
              <p:tags r:id="rId45"/>
            </p:custDataLst>
          </p:nvPr>
        </p:nvSpPr>
        <p:spPr bwMode="auto">
          <a:xfrm>
            <a:off x="452435" y="2535237"/>
            <a:ext cx="14255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Kick-Off/ Mobilization</a:t>
            </a:r>
            <a:endParaRPr lang="de-DE" sz="1200" dirty="0">
              <a:solidFill>
                <a:schemeClr val="tx1"/>
              </a:solidFill>
              <a:latin typeface="Arial"/>
              <a:cs typeface="Arial"/>
              <a:sym typeface="Arial"/>
            </a:endParaRPr>
          </a:p>
        </p:txBody>
      </p:sp>
      <p:sp>
        <p:nvSpPr>
          <p:cNvPr id="266" name="Rectangle 12"/>
          <p:cNvSpPr>
            <a:spLocks/>
          </p:cNvSpPr>
          <p:nvPr>
            <p:custDataLst>
              <p:tags r:id="rId46"/>
            </p:custDataLst>
          </p:nvPr>
        </p:nvSpPr>
        <p:spPr bwMode="auto">
          <a:xfrm>
            <a:off x="452436" y="5251450"/>
            <a:ext cx="1524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sym typeface="Arial"/>
              </a:rPr>
              <a:t>…</a:t>
            </a:r>
            <a:endParaRPr lang="de-DE" sz="1200" dirty="0">
              <a:solidFill>
                <a:schemeClr val="tx1"/>
              </a:solidFill>
              <a:latin typeface="Arial"/>
              <a:cs typeface="Arial"/>
              <a:sym typeface="Arial"/>
            </a:endParaRPr>
          </a:p>
        </p:txBody>
      </p:sp>
      <p:sp>
        <p:nvSpPr>
          <p:cNvPr id="69" name="Rectangle 7"/>
          <p:cNvSpPr>
            <a:spLocks/>
          </p:cNvSpPr>
          <p:nvPr>
            <p:custDataLst>
              <p:tags r:id="rId47"/>
            </p:custDataLst>
          </p:nvPr>
        </p:nvSpPr>
        <p:spPr bwMode="gray">
          <a:xfrm>
            <a:off x="452435" y="2216150"/>
            <a:ext cx="12001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de-DE" sz="1400" b="1" dirty="0" err="1" smtClean="0">
                <a:solidFill>
                  <a:schemeClr val="bg1"/>
                </a:solidFill>
                <a:latin typeface="Arial"/>
                <a:cs typeface="Arial"/>
                <a:sym typeface="Arial"/>
              </a:rPr>
              <a:t>Specifications</a:t>
            </a:r>
            <a:endParaRPr lang="de-DE" sz="1400" b="1" dirty="0">
              <a:solidFill>
                <a:schemeClr val="bg1"/>
              </a:solidFill>
              <a:latin typeface="Arial"/>
              <a:cs typeface="Arial"/>
              <a:sym typeface="Arial"/>
            </a:endParaRPr>
          </a:p>
        </p:txBody>
      </p:sp>
      <p:sp>
        <p:nvSpPr>
          <p:cNvPr id="70" name="Rectangle 5"/>
          <p:cNvSpPr>
            <a:spLocks/>
          </p:cNvSpPr>
          <p:nvPr>
            <p:custDataLst>
              <p:tags r:id="rId48"/>
            </p:custDataLst>
          </p:nvPr>
        </p:nvSpPr>
        <p:spPr bwMode="auto">
          <a:xfrm>
            <a:off x="452437" y="1873250"/>
            <a:ext cx="16621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mn-lt"/>
              </a:rPr>
              <a:t>Communication Concept</a:t>
            </a:r>
            <a:endParaRPr lang="de-DE" sz="1200" dirty="0">
              <a:solidFill>
                <a:schemeClr val="tx1"/>
              </a:solidFill>
              <a:sym typeface="+mn-lt"/>
            </a:endParaRPr>
          </a:p>
        </p:txBody>
      </p:sp>
      <p:sp useBgFill="1">
        <p:nvSpPr>
          <p:cNvPr id="97" name="Rechteck 96"/>
          <p:cNvSpPr/>
          <p:nvPr>
            <p:custDataLst>
              <p:tags r:id="rId49"/>
            </p:custDataLst>
          </p:nvPr>
        </p:nvSpPr>
        <p:spPr bwMode="auto">
          <a:xfrm>
            <a:off x="8413750" y="1881187"/>
            <a:ext cx="1117600" cy="152400"/>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1000" dirty="0" smtClean="0">
                <a:sym typeface="+mn-lt"/>
              </a:rPr>
              <a:t>Steering Committee</a:t>
            </a:r>
            <a:endParaRPr lang="de-DE" sz="1000" dirty="0" smtClean="0">
              <a:sym typeface="+mn-lt"/>
            </a:endParaRPr>
          </a:p>
        </p:txBody>
      </p:sp>
      <p:sp>
        <p:nvSpPr>
          <p:cNvPr id="267" name="Rectangle 12"/>
          <p:cNvSpPr>
            <a:spLocks/>
          </p:cNvSpPr>
          <p:nvPr>
            <p:custDataLst>
              <p:tags r:id="rId50"/>
            </p:custDataLst>
          </p:nvPr>
        </p:nvSpPr>
        <p:spPr bwMode="auto">
          <a:xfrm>
            <a:off x="452437" y="5540375"/>
            <a:ext cx="11144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Testing and Pilot</a:t>
            </a:r>
            <a:endParaRPr lang="de-DE" sz="1200" dirty="0">
              <a:solidFill>
                <a:schemeClr val="tx1"/>
              </a:solidFill>
              <a:cs typeface="Arial"/>
              <a:sym typeface="Arial"/>
            </a:endParaRPr>
          </a:p>
        </p:txBody>
      </p:sp>
      <p:sp useBgFill="1">
        <p:nvSpPr>
          <p:cNvPr id="132" name="Rechteck 131"/>
          <p:cNvSpPr/>
          <p:nvPr>
            <p:custDataLst>
              <p:tags r:id="rId51"/>
            </p:custDataLst>
          </p:nvPr>
        </p:nvSpPr>
        <p:spPr bwMode="auto">
          <a:xfrm>
            <a:off x="8307387" y="5999162"/>
            <a:ext cx="1052512" cy="152400"/>
          </a:xfrm>
          <a:prstGeom prst="rect">
            <a:avLst/>
          </a:prstGeom>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1000" dirty="0" smtClean="0">
                <a:cs typeface="Arial"/>
              </a:rPr>
              <a:t>Future Conference</a:t>
            </a:r>
            <a:endParaRPr lang="de-DE" sz="1000" dirty="0" smtClean="0">
              <a:latin typeface="Arial"/>
              <a:cs typeface="Arial"/>
              <a:sym typeface="Arial"/>
            </a:endParaRPr>
          </a:p>
        </p:txBody>
      </p:sp>
      <p:sp>
        <p:nvSpPr>
          <p:cNvPr id="79" name="Rectangle 12"/>
          <p:cNvSpPr>
            <a:spLocks/>
          </p:cNvSpPr>
          <p:nvPr>
            <p:custDataLst>
              <p:tags r:id="rId52"/>
            </p:custDataLst>
          </p:nvPr>
        </p:nvSpPr>
        <p:spPr bwMode="auto">
          <a:xfrm>
            <a:off x="452437" y="5829300"/>
            <a:ext cx="12842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rPr>
              <a:t>Training/ Handover</a:t>
            </a:r>
            <a:endParaRPr lang="de-DE" sz="1200" dirty="0">
              <a:solidFill>
                <a:schemeClr val="tx1"/>
              </a:solidFill>
              <a:latin typeface="Arial"/>
              <a:cs typeface="Arial"/>
              <a:sym typeface="Arial"/>
            </a:endParaRPr>
          </a:p>
        </p:txBody>
      </p:sp>
      <p:sp>
        <p:nvSpPr>
          <p:cNvPr id="67" name="Rectangle 13"/>
          <p:cNvSpPr/>
          <p:nvPr>
            <p:custDataLst>
              <p:tags r:id="rId53"/>
            </p:custDataLst>
          </p:nvPr>
        </p:nvSpPr>
        <p:spPr bwMode="auto">
          <a:xfrm>
            <a:off x="452437" y="1268412"/>
            <a:ext cx="676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200" b="1" dirty="0" smtClean="0">
                <a:solidFill>
                  <a:schemeClr val="tx1"/>
                </a:solidFill>
                <a:cs typeface="Arial"/>
              </a:rPr>
              <a:t>Activities</a:t>
            </a:r>
            <a:endParaRPr lang="de-DE" b="1" dirty="0">
              <a:solidFill>
                <a:schemeClr val="tx1"/>
              </a:solidFill>
              <a:latin typeface="Arial"/>
              <a:cs typeface="Arial"/>
              <a:sym typeface="Arial"/>
            </a:endParaRPr>
          </a:p>
        </p:txBody>
      </p:sp>
      <p:sp>
        <p:nvSpPr>
          <p:cNvPr id="73" name="Rectangle 12"/>
          <p:cNvSpPr>
            <a:spLocks/>
          </p:cNvSpPr>
          <p:nvPr>
            <p:custDataLst>
              <p:tags r:id="rId54"/>
            </p:custDataLst>
          </p:nvPr>
        </p:nvSpPr>
        <p:spPr bwMode="auto">
          <a:xfrm>
            <a:off x="452437" y="4962525"/>
            <a:ext cx="7699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cs typeface="Arial"/>
                <a:sym typeface="Arial"/>
              </a:rPr>
              <a:t>First Phase</a:t>
            </a:r>
            <a:endParaRPr lang="de-DE" sz="1200" dirty="0">
              <a:solidFill>
                <a:schemeClr val="tx1"/>
              </a:solidFill>
              <a:latin typeface="Arial"/>
              <a:cs typeface="Arial"/>
              <a:sym typeface="Arial"/>
            </a:endParaRPr>
          </a:p>
        </p:txBody>
      </p:sp>
      <p:sp>
        <p:nvSpPr>
          <p:cNvPr id="108" name="Rechteck 107"/>
          <p:cNvSpPr/>
          <p:nvPr>
            <p:custDataLst>
              <p:tags r:id="rId55"/>
            </p:custDataLst>
          </p:nvPr>
        </p:nvSpPr>
        <p:spPr bwMode="auto">
          <a:xfrm>
            <a:off x="7189787" y="1897062"/>
            <a:ext cx="625475" cy="122237"/>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800" dirty="0" smtClean="0"/>
              <a:t>Status Report</a:t>
            </a:r>
            <a:endParaRPr lang="de-DE" sz="800" dirty="0" smtClean="0">
              <a:latin typeface="Arial"/>
              <a:sym typeface="Arial"/>
            </a:endParaRPr>
          </a:p>
        </p:txBody>
      </p:sp>
      <p:sp>
        <p:nvSpPr>
          <p:cNvPr id="66" name="Rectangle 11"/>
          <p:cNvSpPr>
            <a:spLocks/>
          </p:cNvSpPr>
          <p:nvPr>
            <p:custDataLst>
              <p:tags r:id="rId56"/>
            </p:custDataLst>
          </p:nvPr>
        </p:nvSpPr>
        <p:spPr bwMode="gray">
          <a:xfrm>
            <a:off x="452438" y="4643437"/>
            <a:ext cx="1112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b="1" dirty="0" smtClean="0">
                <a:solidFill>
                  <a:schemeClr val="bg1"/>
                </a:solidFill>
                <a:sym typeface="+mn-lt"/>
              </a:rPr>
              <a:t>Development</a:t>
            </a:r>
            <a:endParaRPr lang="de-DE" sz="1400" b="1" dirty="0">
              <a:solidFill>
                <a:schemeClr val="bg1"/>
              </a:solidFill>
              <a:sym typeface="+mn-lt"/>
            </a:endParaRPr>
          </a:p>
        </p:txBody>
      </p:sp>
      <p:sp>
        <p:nvSpPr>
          <p:cNvPr id="268" name="Rectangle 12"/>
          <p:cNvSpPr>
            <a:spLocks/>
          </p:cNvSpPr>
          <p:nvPr>
            <p:custDataLst>
              <p:tags r:id="rId57"/>
            </p:custDataLst>
          </p:nvPr>
        </p:nvSpPr>
        <p:spPr bwMode="auto">
          <a:xfrm>
            <a:off x="452436" y="4300537"/>
            <a:ext cx="15684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mn-lt"/>
              </a:rPr>
              <a:t>Alignment and Release</a:t>
            </a:r>
            <a:endParaRPr lang="de-DE" sz="1200" dirty="0">
              <a:solidFill>
                <a:schemeClr val="tx1"/>
              </a:solidFill>
              <a:sym typeface="+mn-lt"/>
            </a:endParaRPr>
          </a:p>
        </p:txBody>
      </p:sp>
      <p:sp useBgFill="1">
        <p:nvSpPr>
          <p:cNvPr id="78" name="Rectangle 201"/>
          <p:cNvSpPr/>
          <p:nvPr>
            <p:custDataLst>
              <p:tags r:id="rId58"/>
            </p:custDataLst>
          </p:nvPr>
        </p:nvSpPr>
        <p:spPr bwMode="auto">
          <a:xfrm>
            <a:off x="3514725" y="1881187"/>
            <a:ext cx="450850" cy="152400"/>
          </a:xfrm>
          <a:prstGeom prst="rect">
            <a:avLst/>
          </a:prstGeom>
          <a:solidFill>
            <a:srgbClr val="EEEE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000" dirty="0" smtClean="0">
                <a:solidFill>
                  <a:schemeClr val="tx1"/>
                </a:solidFill>
                <a:sym typeface="+mn-lt"/>
              </a:rPr>
              <a:t>Kick-Off</a:t>
            </a:r>
            <a:endParaRPr lang="de-DE" sz="1000" dirty="0">
              <a:solidFill>
                <a:schemeClr val="tx1"/>
              </a:solidFill>
              <a:sym typeface="+mn-lt"/>
            </a:endParaRPr>
          </a:p>
        </p:txBody>
      </p:sp>
      <p:sp>
        <p:nvSpPr>
          <p:cNvPr id="199" name="Rectangle 12"/>
          <p:cNvSpPr>
            <a:spLocks/>
          </p:cNvSpPr>
          <p:nvPr>
            <p:custDataLst>
              <p:tags r:id="rId59"/>
            </p:custDataLst>
          </p:nvPr>
        </p:nvSpPr>
        <p:spPr bwMode="auto">
          <a:xfrm>
            <a:off x="452436" y="4011612"/>
            <a:ext cx="13700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Arial"/>
              </a:rPr>
              <a:t>Adjustment of specs</a:t>
            </a:r>
            <a:endParaRPr lang="de-DE" sz="1200" dirty="0">
              <a:solidFill>
                <a:schemeClr val="tx1"/>
              </a:solidFill>
              <a:latin typeface="Arial"/>
              <a:sym typeface="Arial"/>
            </a:endParaRPr>
          </a:p>
        </p:txBody>
      </p:sp>
      <p:sp>
        <p:nvSpPr>
          <p:cNvPr id="101" name="Rechteck 100"/>
          <p:cNvSpPr/>
          <p:nvPr>
            <p:custDataLst>
              <p:tags r:id="rId60"/>
            </p:custDataLst>
          </p:nvPr>
        </p:nvSpPr>
        <p:spPr bwMode="auto">
          <a:xfrm>
            <a:off x="4740275" y="1897062"/>
            <a:ext cx="625475" cy="122237"/>
          </a:xfrm>
          <a:prstGeom prst="rect">
            <a:avLst/>
          </a:prstGeom>
          <a:solidFill>
            <a:srgbClr val="EEEEEE"/>
          </a:solidFill>
          <a:ln w="9525" algn="ctr">
            <a:noFill/>
            <a:miter lim="800000"/>
            <a:headEnd/>
            <a:tailEnd/>
          </a:ln>
          <a:effectLst/>
        </p:spPr>
        <p:txBody>
          <a:bodyPr wrap="none" lIns="0" tIns="0" rIns="0" bIns="0" rtlCol="0" anchor="t" anchorCtr="0">
            <a:noAutofit/>
          </a:bodyPr>
          <a:lstStyle/>
          <a:p>
            <a:pPr fontAlgn="base">
              <a:spcBef>
                <a:spcPct val="0"/>
              </a:spcBef>
              <a:spcAft>
                <a:spcPct val="0"/>
              </a:spcAft>
            </a:pPr>
            <a:r>
              <a:rPr lang="en-US" sz="800" dirty="0" smtClean="0"/>
              <a:t>Status Report</a:t>
            </a:r>
            <a:endParaRPr lang="de-DE" sz="800" dirty="0" smtClean="0">
              <a:latin typeface="Arial"/>
              <a:sym typeface="Arial"/>
            </a:endParaRPr>
          </a:p>
        </p:txBody>
      </p:sp>
      <p:sp>
        <p:nvSpPr>
          <p:cNvPr id="265" name="Rectangle 12"/>
          <p:cNvSpPr>
            <a:spLocks/>
          </p:cNvSpPr>
          <p:nvPr>
            <p:custDataLst>
              <p:tags r:id="rId61"/>
            </p:custDataLst>
          </p:nvPr>
        </p:nvSpPr>
        <p:spPr bwMode="auto">
          <a:xfrm>
            <a:off x="452436" y="3722687"/>
            <a:ext cx="14255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mn-lt"/>
              </a:rPr>
              <a:t>Kick-Off/ Mobilization</a:t>
            </a:r>
            <a:endParaRPr lang="de-DE" sz="1200" dirty="0">
              <a:solidFill>
                <a:schemeClr val="tx1"/>
              </a:solidFill>
              <a:sym typeface="+mn-lt"/>
            </a:endParaRPr>
          </a:p>
        </p:txBody>
      </p:sp>
      <p:grpSp>
        <p:nvGrpSpPr>
          <p:cNvPr id="2" name="Gruppieren 63"/>
          <p:cNvGrpSpPr/>
          <p:nvPr/>
        </p:nvGrpSpPr>
        <p:grpSpPr>
          <a:xfrm>
            <a:off x="-550" y="1267200"/>
            <a:ext cx="180550" cy="1004350"/>
            <a:chOff x="-550" y="1260000"/>
            <a:chExt cx="180550" cy="1004350"/>
          </a:xfrm>
        </p:grpSpPr>
        <p:sp>
          <p:nvSpPr>
            <p:cNvPr id="71" name="Rectangle 10">
              <a:hlinkClick r:id="" action="ppaction://noaction"/>
            </p:cNvPr>
            <p:cNvSpPr>
              <a:spLocks noChangeArrowheads="1"/>
            </p:cNvSpPr>
            <p:nvPr/>
          </p:nvSpPr>
          <p:spPr bwMode="auto">
            <a:xfrm>
              <a:off x="0" y="1622080"/>
              <a:ext cx="180000" cy="107950"/>
            </a:xfrm>
            <a:prstGeom prst="rect">
              <a:avLst/>
            </a:prstGeom>
            <a:solidFill>
              <a:srgbClr val="E5EAF3"/>
            </a:solidFill>
            <a:ln w="9525" algn="ctr">
              <a:noFill/>
              <a:miter lim="800000"/>
              <a:headEnd/>
              <a:tailEnd/>
            </a:ln>
            <a:effectLst/>
          </p:spPr>
          <p:txBody>
            <a:bodyPr wrap="none" anchor="ctr"/>
            <a:lstStyle/>
            <a:p>
              <a:endParaRPr lang="en-US" dirty="0"/>
            </a:p>
          </p:txBody>
        </p:sp>
        <p:sp>
          <p:nvSpPr>
            <p:cNvPr id="81" name="Rectangle 11">
              <a:hlinkClick r:id="" action="ppaction://noaction"/>
            </p:cNvPr>
            <p:cNvSpPr>
              <a:spLocks noChangeArrowheads="1"/>
            </p:cNvSpPr>
            <p:nvPr/>
          </p:nvSpPr>
          <p:spPr bwMode="auto">
            <a:xfrm>
              <a:off x="0" y="12600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3" name="Rectangle 20">
              <a:hlinkClick r:id="" action="ppaction://noaction"/>
            </p:cNvPr>
            <p:cNvSpPr>
              <a:spLocks noChangeArrowheads="1"/>
            </p:cNvSpPr>
            <p:nvPr/>
          </p:nvSpPr>
          <p:spPr bwMode="auto">
            <a:xfrm>
              <a:off x="0" y="144104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4" name="Rectangle 11">
              <a:hlinkClick r:id="" action="ppaction://noaction"/>
            </p:cNvPr>
            <p:cNvSpPr>
              <a:spLocks noChangeArrowheads="1"/>
            </p:cNvSpPr>
            <p:nvPr/>
          </p:nvSpPr>
          <p:spPr bwMode="auto">
            <a:xfrm>
              <a:off x="-550" y="1796635"/>
              <a:ext cx="180000" cy="107950"/>
            </a:xfrm>
            <a:prstGeom prst="rect">
              <a:avLst/>
            </a:prstGeom>
            <a:solidFill>
              <a:srgbClr val="E5EAF3"/>
            </a:solidFill>
            <a:ln w="9525" algn="ctr">
              <a:noFill/>
              <a:miter lim="800000"/>
              <a:headEnd/>
              <a:tailEnd/>
            </a:ln>
            <a:effectLst/>
          </p:spPr>
          <p:txBody>
            <a:bodyPr wrap="none" anchor="ctr"/>
            <a:lstStyle/>
            <a:p>
              <a:pPr>
                <a:lnSpc>
                  <a:spcPts val="2000"/>
                </a:lnSpc>
              </a:pPr>
              <a:endParaRPr lang="en-US" dirty="0" smtClean="0"/>
            </a:p>
          </p:txBody>
        </p:sp>
        <p:sp>
          <p:nvSpPr>
            <p:cNvPr id="87" name="Rectangle 20">
              <a:hlinkClick r:id="" action="ppaction://noaction"/>
            </p:cNvPr>
            <p:cNvSpPr>
              <a:spLocks noChangeArrowheads="1"/>
            </p:cNvSpPr>
            <p:nvPr/>
          </p:nvSpPr>
          <p:spPr bwMode="auto">
            <a:xfrm>
              <a:off x="-550" y="1977675"/>
              <a:ext cx="180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93" name="Rectangle 20">
              <a:hlinkClick r:id="" action="ppaction://noaction"/>
            </p:cNvPr>
            <p:cNvSpPr>
              <a:spLocks noChangeArrowheads="1"/>
            </p:cNvSpPr>
            <p:nvPr/>
          </p:nvSpPr>
          <p:spPr bwMode="auto">
            <a:xfrm>
              <a:off x="-550" y="21564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gr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pPr marL="0" indent="0"/>
            <a:r>
              <a:rPr lang="en-GB" dirty="0"/>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marL="0" indent="0"/>
            <a:r>
              <a:rPr lang="en-GB" dirty="0" smtClean="0"/>
              <a:t>Our </a:t>
            </a:r>
            <a:r>
              <a:rPr lang="en-GB" dirty="0"/>
              <a:t>services are provided subject to our verification whether a provision of the specific services is permissible in the individual case.</a:t>
            </a:r>
          </a:p>
          <a:p>
            <a:endParaRPr lang="en-GB"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p:txBody>
          <a:bodyPr/>
          <a:lstStyle/>
          <a:p>
            <a:r>
              <a:rPr lang="en-US" smtClean="0"/>
              <a:t>Agenda</a:t>
            </a:r>
            <a:endParaRPr lang="en-US"/>
          </a:p>
        </p:txBody>
      </p:sp>
      <p:sp>
        <p:nvSpPr>
          <p:cNvPr id="24" name="Text Placeholder 23"/>
          <p:cNvSpPr>
            <a:spLocks noGrp="1"/>
          </p:cNvSpPr>
          <p:nvPr>
            <p:ph type="body" sz="quarter" idx="14"/>
          </p:nvPr>
        </p:nvSpPr>
        <p:spPr bwMode="gray"/>
        <p:txBody>
          <a:bodyPr/>
          <a:lstStyle/>
          <a:p>
            <a:endParaRPr lang="en-US"/>
          </a:p>
        </p:txBody>
      </p:sp>
      <p:sp>
        <p:nvSpPr>
          <p:cNvPr id="23" name="Text Placeholder 22"/>
          <p:cNvSpPr>
            <a:spLocks noGrp="1"/>
          </p:cNvSpPr>
          <p:nvPr>
            <p:ph type="body" sz="quarter" idx="13"/>
          </p:nvPr>
        </p:nvSpPr>
        <p:spPr bwMode="gray"/>
        <p:txBody>
          <a:bodyPr/>
          <a:lstStyle/>
          <a:p>
            <a:endParaRPr lang="en-US"/>
          </a:p>
        </p:txBody>
      </p:sp>
      <p:sp>
        <p:nvSpPr>
          <p:cNvPr id="26" name="Rectangle 25">
            <a:hlinkClick r:id="" action="ppaction://noaction"/>
          </p:cNvPr>
          <p:cNvSpPr>
            <a:spLocks noChangeArrowheads="1"/>
          </p:cNvSpPr>
          <p:nvPr>
            <p:custDataLst>
              <p:tags r:id="rId2"/>
            </p:custDataLst>
          </p:nvPr>
        </p:nvSpPr>
        <p:spPr bwMode="gray">
          <a:xfrm>
            <a:off x="1" y="1630569"/>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27" name="Rectangle 26">
            <a:hlinkClick r:id="" action="ppaction://noaction"/>
          </p:cNvPr>
          <p:cNvSpPr>
            <a:spLocks noChangeArrowheads="1"/>
          </p:cNvSpPr>
          <p:nvPr>
            <p:custDataLst>
              <p:tags r:id="rId3"/>
            </p:custDataLst>
          </p:nvPr>
        </p:nvSpPr>
        <p:spPr bwMode="gray">
          <a:xfrm>
            <a:off x="1" y="1270207"/>
            <a:ext cx="216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p>
        </p:txBody>
      </p:sp>
      <p:sp>
        <p:nvSpPr>
          <p:cNvPr id="28" name="Rectangle 27">
            <a:hlinkClick r:id="" action="ppaction://noaction"/>
          </p:cNvPr>
          <p:cNvSpPr>
            <a:spLocks noChangeArrowheads="1"/>
          </p:cNvSpPr>
          <p:nvPr>
            <p:custDataLst>
              <p:tags r:id="rId4"/>
            </p:custDataLst>
          </p:nvPr>
        </p:nvSpPr>
        <p:spPr bwMode="gray">
          <a:xfrm>
            <a:off x="1" y="1449594"/>
            <a:ext cx="216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ln>
                <a:solidFill>
                  <a:srgbClr val="E5EAF3"/>
                </a:solidFill>
              </a:ln>
            </a:endParaRPr>
          </a:p>
        </p:txBody>
      </p:sp>
      <p:sp>
        <p:nvSpPr>
          <p:cNvPr id="29" name="Rectangle 28">
            <a:hlinkClick r:id="" action="ppaction://noaction"/>
          </p:cNvPr>
          <p:cNvSpPr>
            <a:spLocks noChangeArrowheads="1"/>
          </p:cNvSpPr>
          <p:nvPr>
            <p:custDataLst>
              <p:tags r:id="rId5"/>
            </p:custDataLst>
          </p:nvPr>
        </p:nvSpPr>
        <p:spPr bwMode="gray">
          <a:xfrm>
            <a:off x="1" y="1809957"/>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30" name="Rectangle 29">
            <a:hlinkClick r:id="" action="ppaction://noaction"/>
          </p:cNvPr>
          <p:cNvSpPr>
            <a:spLocks noChangeArrowheads="1"/>
          </p:cNvSpPr>
          <p:nvPr>
            <p:custDataLst>
              <p:tags r:id="rId6"/>
            </p:custDataLst>
          </p:nvPr>
        </p:nvSpPr>
        <p:spPr bwMode="gray">
          <a:xfrm>
            <a:off x="1" y="1989344"/>
            <a:ext cx="216000" cy="107950"/>
          </a:xfrm>
          <a:prstGeom prst="rect">
            <a:avLst/>
          </a:prstGeom>
          <a:solidFill>
            <a:srgbClr val="E5EAF3"/>
          </a:solidFill>
          <a:ln w="6350" algn="ctr">
            <a:noFill/>
            <a:miter lim="800000"/>
            <a:headEnd/>
            <a:tailEnd/>
          </a:ln>
          <a:effectLst/>
        </p:spPr>
        <p:txBody>
          <a:bodyPr wrap="none" lIns="36000" tIns="36000" rIns="36000" bIns="36000" anchor="ctr"/>
          <a:lstStyle/>
          <a:p>
            <a:pPr>
              <a:spcBef>
                <a:spcPct val="0"/>
              </a:spcBef>
            </a:pPr>
            <a:endParaRPr lang="en-US" sz="1050">
              <a:latin typeface="Arial"/>
            </a:endParaRPr>
          </a:p>
        </p:txBody>
      </p:sp>
      <p:sp>
        <p:nvSpPr>
          <p:cNvPr id="31" name="Rectangle 38"/>
          <p:cNvSpPr>
            <a:spLocks noChangeArrowheads="1"/>
          </p:cNvSpPr>
          <p:nvPr/>
        </p:nvSpPr>
        <p:spPr bwMode="gray">
          <a:xfrm>
            <a:off x="1466699" y="1853613"/>
            <a:ext cx="7638593" cy="485775"/>
          </a:xfrm>
          <a:prstGeom prst="rect">
            <a:avLst/>
          </a:prstGeom>
          <a:solidFill>
            <a:schemeClr val="accent4"/>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bg1"/>
                </a:solidFill>
              </a:rPr>
              <a:t>Management Summary</a:t>
            </a:r>
          </a:p>
        </p:txBody>
      </p:sp>
      <p:sp>
        <p:nvSpPr>
          <p:cNvPr id="32" name="Text Box 39"/>
          <p:cNvSpPr txBox="1">
            <a:spLocks noChangeArrowheads="1"/>
          </p:cNvSpPr>
          <p:nvPr/>
        </p:nvSpPr>
        <p:spPr bwMode="gray">
          <a:xfrm>
            <a:off x="795187" y="1853613"/>
            <a:ext cx="600075" cy="485775"/>
          </a:xfrm>
          <a:prstGeom prst="rect">
            <a:avLst/>
          </a:prstGeom>
          <a:solidFill>
            <a:schemeClr val="accent4"/>
          </a:solidFill>
          <a:ln w="9525" algn="ctr">
            <a:noFill/>
            <a:miter lim="800000"/>
            <a:headEnd/>
            <a:tailEnd/>
          </a:ln>
        </p:spPr>
        <p:txBody>
          <a:bodyPr wrap="none" lIns="54000" tIns="54000" rIns="54000" bIns="54000" anchor="ctr"/>
          <a:lstStyle/>
          <a:p>
            <a:pPr algn="ctr"/>
            <a:r>
              <a:rPr lang="en-US" sz="1400" b="1" dirty="0" smtClean="0">
                <a:solidFill>
                  <a:schemeClr val="bg1"/>
                </a:solidFill>
              </a:rPr>
              <a:t>I</a:t>
            </a:r>
            <a:endParaRPr lang="en-US" sz="1400" b="1" dirty="0">
              <a:solidFill>
                <a:schemeClr val="bg1"/>
              </a:solidFill>
            </a:endParaRPr>
          </a:p>
        </p:txBody>
      </p:sp>
      <p:sp>
        <p:nvSpPr>
          <p:cNvPr id="33" name="Rectangle 40"/>
          <p:cNvSpPr>
            <a:spLocks noChangeArrowheads="1"/>
          </p:cNvSpPr>
          <p:nvPr/>
        </p:nvSpPr>
        <p:spPr bwMode="gray">
          <a:xfrm>
            <a:off x="1466699" y="2437019"/>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smtClean="0">
                <a:solidFill>
                  <a:schemeClr val="accent4"/>
                </a:solidFill>
              </a:rPr>
              <a:t>House Rules</a:t>
            </a:r>
          </a:p>
        </p:txBody>
      </p:sp>
      <p:sp>
        <p:nvSpPr>
          <p:cNvPr id="34" name="Text Box 41"/>
          <p:cNvSpPr txBox="1">
            <a:spLocks noChangeArrowheads="1"/>
          </p:cNvSpPr>
          <p:nvPr/>
        </p:nvSpPr>
        <p:spPr bwMode="gray">
          <a:xfrm>
            <a:off x="795187" y="2437019"/>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I</a:t>
            </a:r>
            <a:endParaRPr lang="en-US" sz="1400" b="1" dirty="0">
              <a:solidFill>
                <a:schemeClr val="accent4"/>
              </a:solidFill>
            </a:endParaRPr>
          </a:p>
        </p:txBody>
      </p:sp>
      <p:sp>
        <p:nvSpPr>
          <p:cNvPr id="36" name="Rectangle 42"/>
          <p:cNvSpPr>
            <a:spLocks noChangeArrowheads="1"/>
          </p:cNvSpPr>
          <p:nvPr/>
        </p:nvSpPr>
        <p:spPr bwMode="gray">
          <a:xfrm>
            <a:off x="1466699" y="3020427"/>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Project Structure</a:t>
            </a:r>
          </a:p>
        </p:txBody>
      </p:sp>
      <p:sp>
        <p:nvSpPr>
          <p:cNvPr id="37" name="Text Box 43"/>
          <p:cNvSpPr txBox="1">
            <a:spLocks noChangeArrowheads="1"/>
          </p:cNvSpPr>
          <p:nvPr/>
        </p:nvSpPr>
        <p:spPr bwMode="gray">
          <a:xfrm>
            <a:off x="795187" y="3020427"/>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II</a:t>
            </a:r>
            <a:endParaRPr lang="en-US" sz="1400" b="1" dirty="0">
              <a:solidFill>
                <a:schemeClr val="accent4"/>
              </a:solidFill>
            </a:endParaRPr>
          </a:p>
        </p:txBody>
      </p:sp>
      <p:sp>
        <p:nvSpPr>
          <p:cNvPr id="40" name="Rectangle 42"/>
          <p:cNvSpPr>
            <a:spLocks noChangeArrowheads="1"/>
          </p:cNvSpPr>
          <p:nvPr/>
        </p:nvSpPr>
        <p:spPr bwMode="gray">
          <a:xfrm>
            <a:off x="1466699" y="3584963"/>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Road Map</a:t>
            </a:r>
          </a:p>
        </p:txBody>
      </p:sp>
      <p:sp>
        <p:nvSpPr>
          <p:cNvPr id="41" name="Text Box 43"/>
          <p:cNvSpPr txBox="1">
            <a:spLocks noChangeArrowheads="1"/>
          </p:cNvSpPr>
          <p:nvPr/>
        </p:nvSpPr>
        <p:spPr bwMode="gray">
          <a:xfrm>
            <a:off x="795187" y="3584963"/>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V</a:t>
            </a:r>
            <a:endParaRPr lang="en-US" sz="1400" b="1" dirty="0">
              <a:solidFill>
                <a:schemeClr val="accent4"/>
              </a:solidFill>
            </a:endParaRPr>
          </a:p>
        </p:txBody>
      </p:sp>
      <p:sp>
        <p:nvSpPr>
          <p:cNvPr id="42" name="Rectangle 42"/>
          <p:cNvSpPr>
            <a:spLocks noChangeArrowheads="1"/>
          </p:cNvSpPr>
          <p:nvPr/>
        </p:nvSpPr>
        <p:spPr bwMode="gray">
          <a:xfrm>
            <a:off x="1466699" y="4180049"/>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Back up: Specifications</a:t>
            </a:r>
          </a:p>
        </p:txBody>
      </p:sp>
      <p:sp>
        <p:nvSpPr>
          <p:cNvPr id="43" name="Text Box 43"/>
          <p:cNvSpPr txBox="1">
            <a:spLocks noChangeArrowheads="1"/>
          </p:cNvSpPr>
          <p:nvPr/>
        </p:nvSpPr>
        <p:spPr bwMode="gray">
          <a:xfrm>
            <a:off x="795187" y="4180049"/>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V</a:t>
            </a:r>
            <a:endParaRPr lang="en-US" sz="1400" b="1" dirty="0">
              <a:solidFill>
                <a:schemeClr val="accent4"/>
              </a:solidFill>
            </a:endParaRPr>
          </a:p>
        </p:txBody>
      </p:sp>
    </p:spTree>
    <p:custDataLst>
      <p:tags r:id="rId1"/>
    </p:custDataLst>
    <p:extLst>
      <p:ext uri="{BB962C8B-B14F-4D97-AF65-F5344CB8AC3E}">
        <p14:creationId xmlns:p14="http://schemas.microsoft.com/office/powerpoint/2010/main" xmlns="" val="418556715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587" y="1588"/>
          <a:ext cx="1587" cy="1587"/>
        </p:xfrm>
        <a:graphic>
          <a:graphicData uri="http://schemas.openxmlformats.org/presentationml/2006/ole">
            <p:oleObj spid="_x0000_s141314" name="think-cell Slide" r:id="rId4" imgW="270" imgH="270" progId="TCLayout.ActiveDocument.1">
              <p:embed/>
            </p:oleObj>
          </a:graphicData>
        </a:graphic>
      </p:graphicFrame>
      <p:pic>
        <p:nvPicPr>
          <p:cNvPr id="141316" name="Picture 4" descr="http://www.sisulizer.de/_img/localization-target-groups/software-translation-for-localization-service-providers.jpg"/>
          <p:cNvPicPr>
            <a:picLocks noChangeAspect="1" noChangeArrowheads="1"/>
          </p:cNvPicPr>
          <p:nvPr/>
        </p:nvPicPr>
        <p:blipFill>
          <a:blip r:embed="rId5" cstate="print"/>
          <a:srcRect/>
          <a:stretch>
            <a:fillRect/>
          </a:stretch>
        </p:blipFill>
        <p:spPr bwMode="auto">
          <a:xfrm>
            <a:off x="273050" y="1268413"/>
            <a:ext cx="4308514" cy="4779962"/>
          </a:xfrm>
          <a:prstGeom prst="rect">
            <a:avLst/>
          </a:prstGeom>
          <a:noFill/>
        </p:spPr>
      </p:pic>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2"/>
          </p:nvPr>
        </p:nvSpPr>
        <p:spPr/>
        <p:txBody>
          <a:bodyPr/>
          <a:lstStyle/>
          <a:p>
            <a:endParaRPr lang="en-US"/>
          </a:p>
        </p:txBody>
      </p:sp>
      <p:sp>
        <p:nvSpPr>
          <p:cNvPr id="5" name="Title 4"/>
          <p:cNvSpPr>
            <a:spLocks noGrp="1"/>
          </p:cNvSpPr>
          <p:nvPr>
            <p:ph type="title"/>
          </p:nvPr>
        </p:nvSpPr>
        <p:spPr/>
        <p:txBody>
          <a:bodyPr/>
          <a:lstStyle/>
          <a:p>
            <a:r>
              <a:rPr lang="en-US" sz="1600" b="0" dirty="0" smtClean="0"/>
              <a:t>Management Summary</a:t>
            </a:r>
            <a:br>
              <a:rPr lang="en-US" sz="1600" b="0" dirty="0" smtClean="0"/>
            </a:br>
            <a:r>
              <a:rPr lang="en-US" dirty="0" smtClean="0"/>
              <a:t>Our new technology development encompasses our most business-relevant tools, hence we have to conduct a best-practice project </a:t>
            </a:r>
            <a:r>
              <a:rPr lang="en-US" dirty="0" err="1" smtClean="0"/>
              <a:t>mngt</a:t>
            </a:r>
            <a:r>
              <a:rPr lang="en-US" dirty="0" smtClean="0"/>
              <a:t> to ensure 100% quality.</a:t>
            </a:r>
            <a:endParaRPr lang="en-US" dirty="0"/>
          </a:p>
        </p:txBody>
      </p:sp>
      <p:graphicFrame>
        <p:nvGraphicFramePr>
          <p:cNvPr id="6" name="Diagram 5"/>
          <p:cNvGraphicFramePr/>
          <p:nvPr/>
        </p:nvGraphicFramePr>
        <p:xfrm>
          <a:off x="3192462" y="1270000"/>
          <a:ext cx="6435725" cy="491648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27368" name="AutoShape 8" descr="data:image/jpeg;base64,/9j/4AAQSkZJRgABAQAAAQABAAD/2wCEAAkGBhQSEBIUEhQUFBUUFRUVFBQWFxQVFBQVFxgVFBQWFRQXHCYeFxkjGhUUHy8gJCcpLSwsFR8xNTAqNSYtLCkBCQoKBgUGDQUKDSkYEhgpKSkpKSkpKSkpKSkpKSkpKSkpKSkpKSkpKSkpKSkpKSkpKSkpKSkpKSkpKSkpKSkpKf/AABEIAL8BCAMBIgACEQEDEQH/xAAcAAABBQEBAQAAAAAAAAAAAAAAAwQFBgcBAgj/xABLEAACAQICBQcIBggDBwUAAAABAgMABAURBhIhMUEHEyJRYXGBFDJCYnKCkaEjUpKiscEVJDNDU2Oy0XOT8DREVLPCw+EIFiV08f/EABQBAQAAAAAAAAAAAAAAAAAAAAD/xAAUEQEAAAAAAAAAAAAAAAAAAAAA/9oADAMBAAIRAxEAPwDDaKKKArooFegKDqil40pNFpzElAvDFUpaWudN7SGrFh1nnlQO8JwzMir1hGGgAbKiMMtwgBYhR1kgD4mpldJ7OIdO5gHZziE/AEmgnUjyGyqjjscglGsc1zpljXKlArasMsZHFwHIHwWmlpprYZ6090zt1CKbL+mgvmDopjGXVVL05w1yc+Feb3lbtUGrBme0q4/KoldIY7s5y3kUY6iSv4gUElox0F3+FSMdxrSUwgv7OEZRyiY+oQ34UW4klfNI2A7QRQXuB8o6h573VfYal8KhfUycUwxjCl3g0EvhGK5jInOs15TeScAPd2CdHa01uo83iXiA9HiU4bxs2C0YbMUOWdXHDbvMCgxLko5TTZsLW6bO2c9Bjt8nY8f8MneOG8cc9nxbDkkXgcxsIrMOVrkuAD3tmmza1xCo3cTLGBw4so3bxszyS5JeUMkLY3Lbtls5/wCST/T9nqoJjE7F4WJQmvFnpR6L1YsXAINULF7bIkig96dYEt3DzkYzljBK5b3XeyfmO3vrM8GxDmZQT5p6LjsPHw31erTF2Q5E1VNLcPCS84gySXM5fVf0h47/ABPVQTd5bVC3NvUto1c89Bqnzo+j3r6J/EeFdu7OgrEsVN2Spm4tqYSw0DBhTixTMSdkbH5rScyU7whcxP8A4Dn5rQR9FFFByiiuig6BSqpXjXp3heFT3L6lvFJK/wBWNWYgdZy3DtNB5UAbyBSgvUXrPyqdi0DWP/bbuGE8YYv1q4z6isZ5tD7Ug7qmLGysYz9DaGY/xLty3iIIdVB3MXoKnaYjNIwSCIsx3KqtI57gP7VYrbQ3FpctfO3U/wAaRLc/5eYc/Zq4WeIzFdRW5pP4cKrBH9iIKD451KWNrlQU+05G2fbcXy58eajklP2pTGPxqYPJLh0KF5XupAN/SijB8AjH71XK3XKnTxBlKsMwRkRQUjD9A7STJorKMJ9aaW5dj7qSKPlXcYhw21GqLK3aT2HYffc1KaPXvN3MtsCXRTmufodmfVTbSvRTp+UR9IDa8Z4jrU0Fdw2Ezv0LGz1c+Nsm7vq04hoXaCAu1jahwNuQmUfckGVTejeJxSwjmcgQMim4g9tQOLYnPPceT5c2M9vWR2UEDguh+G3ZKtbvA44wzyZfCYP+NPLzRRrFgLbE7qAHzVnj56LxKE5f5dXnC8DigXPZnxJqu6W45DL9EoLsOI25UELcy4yi6xVbuIbTJaEM2XWYcg/3RTnR3EY7ttQXWrLuMMo5uUHiArecfZJq1aGwMsY1gR1U90swO2uYybmBJiBsc5rKvszL0h8SOygaw6JsN5zqWs8LZKoeH4peWuy0ka+hX/dpyPK4wP4Mo2TgfV39SjfUzhfKKbhC0cZOqdV13OjcVdTtU7/hQXdE2bawbla5OvI5PK7UZQswLquzmJCdhXLchO7qOziK0xtM34xsPCm93pWkqNHLHrI4KsrDYynYQaCs6GaV+XW2Tn6eIASeuNyyDv3Ht7xSuIYaWzrOrpHwrEFkhJaIklM/TiPnxt2jd9k1sVjIk8aSxnNHUMp7D19R4EdYoM/u8GOe6o/EMGaSFky2717GG7+3jWsHBweFNptHB1UGFaK3vNXSg7A/0beO74Nl86vl3ZVUuULAja3rZDJZQJV7CSQ33gT4itAw36e2il+ugJ9rc33gaCo3dlURcWtXm9sKgbyyoKheRZKaWwJcxddls/8AVGPzpxi8GSHw/EUno8Po73/634z26/nQRRFFKOtFA3qfwfQi5uI+dIWC343Nwwhh91m2yHsQMakf03Y2Wyzh8qmH+9XSjm1PXDabh1gyEnsqAxfHZ7uTnLiV5W4FjmFHUq7lHYABQTobDbXzVfEZR6T61vaA9iA87L4lAeqvN5pdczpzZcRQ8LeBRBAO+OPLW721j21Wo6kLRaCUsLbdVow2z3VCWGQqYjxEKKCyWqgVIRXaiqYMWJ3U/s2ZqC5294DTu4uCsbMBmQCQKq82KQ2ihriRU4hd7t7KDae/dUTinKVIFzhiSCMjNZbonWccDHbpm7Dt2jryoLHoQisJZtYNJI51wN69Qyo05xwRRc3rKpkORJYDIcd5rHbjSPJnZXmdnJLZN5PESeBiiOZHvDuqNbGG9FIk7o1Zvtyaz/Og23RzGMOtoxndQ652sdcMc/dzpppTpVbySRGF82B/aBXAHiVrGmxic75pe7XbL4Z0ib1zvd/tH+9B9ESY5bz2+o1zAH1eMirt94ikdB4IM2A1WkB25ENn2jKsBTFJV3SyDudh+dLRY9OpBEjEjcWybL7WdB9WPMiDpEL8qicW0hg5tlDqSRwNYlhGkOKzpqxxT3KerHK48CvRHwq16P219Gc5sJuXXjsGt4ZgfDLxoLHoxaq0hPbVjxjRFZnFxC/MXaDJZwMxIP4dyn75D29IcDsypnb6R28Qzltry2HEy2k4Ud7xqy/Op7CMdt7kfq88UuW8I6sw9pRtXxFAywPE1nZ4LiIQ3UQBkh3qynYJoG/eRMeO8HYdu+SlwCFt6CkcbwMXCoVbmp4iWt5wM2ifjmPTjYbGQ7GHbkQpgWLmZXSVRHPCQs8QOYViM1dCfOicdJW7wdqkAK7pdyZRXds8a5K+WtEx3LIN2fqncew9lZ/yN4myTzYdPmrqXaNW3q6E89H37C3ut11vArFuWbBHsr22xW2GR5xBLlu51NqMex0UqfZ9ag1NbHsrrWlOsJxFLm3inj8yVFkXsDDPI9o3HtFOGjoMe5ccB1rOKcDbDJqn2JBl/UqfGmPJRLztgyHfFKw91wHHzL1pPKBhPPYZeJlmeZdh7UY51fmgrKOQmXOS8j60jcD2WZT/AFigtd9YVXL+xrQ72zqt4jZ76DMdJ4NWI96/jUfo9H+r3rfy4U+1PE/4Rmp3TuPVhHbIB8mP5VF6Px/qNyfrT26j3UuGb8UoIaVKKc3EdFBGEVyu50UHtDT63kypgtKq9BMJe5UtFckmoZHqStHVRrMcgN//AI6zQWTDLcZazEAAZkk5ADrJO6u3GlLMHWz1URP2l3LsjTPcEGRJY5HIZFjkcl2Z1BSzGWPnbgtFagkRxqQJLl13qmezZxcgquewM2QMHieLNNqjIJGmYjiTMRxg78gdpY5DNiSxy2k0D66xxUYmHWklPnXU3SlJ640JIi7+k2zYV3VDTTs7FnYszHMsxJJPWSdpNeKKAoopQQ7MzsHDrPcKBOu5UpGhZgqKSSQAAM2JOwAAcewV9EclfI4loqXN6oe5OTJGcisHEZjc0vbuXht20Gf6D8hl1eBZbkm1hO0awzmcerGfMHa3wNbVo5yW4dZAc3bq7j97NlLJn1gtsU+yBVsooOAV3KiigKh8Y0QtLo600CM43Sgaky+zMmTr4GpiigpsuDXtntt5DfQjfBOwW6UfyrnLKT2ZBns8+kRfpc5XNpreU22aSwOObmZDtktpo22qxy1kJ2BwMjqs2d4qA0i0VE7LPA3MXcYyjnAz1l381Ov72I/VO7eMjQO7O7WWNJEOsjqGU7swesHcescDspjpTgC3tnPbNl9KhCk+i46UbeDhT8aidF8ZJnlgkTmZdYtJDnmI5iCzmM+lDKAZVPWJc9tWsUGZcguLs1nPaSZiS0lI1TvVJCx1fCRZPiK0/KsqsIfItLJEGyPEIGcDhr5c43jrwyfbrV6Bvc24dWU7mBU9xGX5189chAIxOdD/AMNID3rJDX0cBtHeK+fORGHPGrwjcsM/zmiAoNfu7eq9iNrvq4XMVQWIQb6DF+VDorCvWzH7IA/6qaYRbkYbFn+8nnf3VWGNfmJKV5W5v1qJPqx6x72Y/koqSNnqWlon1bdGPfKWuPwlUeFBU7uKind9FRQVUGvYpKvQNApXoGvAr0KBeM5bTuqSw2zWRTcXGYt4zqqgOTTyZZ80h4bCCzeipHEqCzwjDfKJNUtqRIpkmkyzEca5azZcSSQqrxZlHGu49i/PMqovNxRjUhjzz1Ezz2n0nJJZm4sTwyABDFsVe4k13yAACoijJI0Hmoi+io6u8nMkksaKKAroGdcqXWIWyBm/bMOip/dj6xHX/rroGzQCIdPa53JwXtbrPZTOSQscyczXHYkknaTvNTOiWjT313BAgIEsqozD0RkXc94RXbwoNY5BeTwEDEbhc9pFqp7NjTZd+ar3Meo1uNIWVmkUaRxqFSNVRFG5VUBVA8AKXoCiiigKKKKAooooCiiigqunOjryql1aj9btenH/AD0B1nt36w2WzqbLdmaksJxSO5gjmiOaSKGXryO8EcGBzBHAg1MVTsMj8lxG4tt0VwDeW44K+YS7jHvtHJl/Nagr3KfFzWIYJdDZqXYhY+rIUIHwEnxrSRVB5YIs7K3bjHfWrD4uv/VV/O895oOSSaoLHcoJPcNtYb/6drfXnv5j9SNM+13dz/yxWr6c4jzGGXsueRW3lC+0ylE+8wqm/wDp/wAK5vDHlI2zzsQetIwIx94SUGhTpUPfRVOyrULjNwsUUkr+bGjO3coLH8KD5z00Bu8ZkiQ5lpY7dO8asf8AVnV6x6MF31fNByT2F6KfdAqncmlq1xibTtt5pZbhj/MboR+POSK3umrzikO+go+IRb65TzEot9FBnldFcooFBQTwHGvINTejqc0JLthnzJCwg7muWz5vZxCANIfZUelQKYufJohaL5+YkuyOM2R1Yc+qIEg+uz9QqvmlJXJJJJJJzJO0kneSaSoCiinFhZmWRUXex39Q3k+AzoJDBrRUVriQdFPMH1n4fD8e6oy6uWkcuxzJP+gOypTSO7GssKbEiGWXW3HP/W8moagWtLVpZEjQazOwVR1knIV9CclmjKQ3pRciLO1XWbLzri6Yl3/y4FUdjVmvJLgmvM9ww2RDVT22G0+C/wBYrauTJM3xKTibpY/CO3gy/rPxoLzRRRQFFFFAUUUUBRRRQFFFFAVVdO15vyK6Gw293Ern+TcnyWQd2csbe4KtVVrlJh1sJvutYHkHYY/pVPxQUETymR69tbR8ZL+yT4yZn5A1cc6qukP015hce/6aS7bsWCIhT/mTx1aRQZty+YvqYdHbrte6mVQo3lI+m2Xv80PGrvorgotLG2txlnFEqtlxfLOQ+Llj41nd1H+lNJ1XzrfC1BbipmB1su/nCoy6oDWs0CcgrNeW3GuYw1kBye4cRDr1R05D3ZKF9+tLevnnlav3xHGYrKDbzRWBernXIMrHsXog/wCGaCX5JsE5rD3mYdK5kzH+FFrIvxcy/ZFSeKR76tn6OSGGOGPzIkWNOvVUBQT2nLM9pNVvFE30FHxNN9dpbFF312gyuiiig6qkkAbSdgHXU5pBII+btV3W4Icjc07ZGY9uRCxjsiHXSOjo1Hec7rdddc9xlJ1YR9shu5DUY7Ekk7SdpPWeNB4NcrtcoCrFgCCGCW4O/Iqnyz+Lao8DVeAqx6RHmoIYRwG3vG/4sSfCgrjsSSTtJ2nvoArleo1zOVBt2gdiIbCEcXHON3vtH3dUeFXrkvcf/JLxF5r+D29uR+Bqs2qhVVRuVQo7gMvyqR5Orzm8WvYT+/ggnTqzizhky7cmT4UGnUUUUBRRRQFFFFAUUUUBRRRQFVzlHm1cJvz120qjvdSg+bCrHVQ5S5S1tBbous91dW8YXrVHFxIT6urCcz1GgUwqDXvJpTuhjS0jPav0twR7zRJ3wmvemmky2FjNcHLWVcolPpStsjX47T2KakcPtBFGqA55Zktxd2JZ3PazFm96qNzf6YxQHzrDDX2fVubzZnlwZE2f/j0EryVaKtZ2IabPym5bn7gnztZtqoe0A7fWZqudeQa9UEFprpKthYzXDZZouUan05W2Rr8dp7AayXkO0aaSSfEZs2ObxxM29pH2zyfA6ufrt1V45TcXkxjFYcNtDnHE5Vm3qZf3sjerGoI8Gy3ithwzCI7W3ighGUcSBF6zltLH1iSWPaTQMb8VVMVXfVtv6qmLcaCl4qN9cruK8aKDKKKKVtoC7qg3swUd5OVBI3J5u1ij4ykzv3DOOIfDnG98VGGneLXIeZyvmjJE9hAET5AU0oOV5r0a80D7BYda4jHANrHuXpflS+ks+tOfVAH5/nRo4PpSepD8yB+Zppib5zOe38NlA1pa1PTXvH4ika9JQb+r7ajr/EDaXlneDPKFmWXLaTEQedGXHKMyv3xCvWG3gkijcemit8QDSuI25kiZVyLDJkz3F1Oag9hy1T2MaDaopAyhlIIIBBG0EHaCDxFeqznkp0pUotk5PRTXs2be9uN8JJ/eQnoEfVAPA1o1AUUUUBRRRQFFFFAUUUUBVM53yrFZJBtisEMCHgbmYK85B9SMRp2GRhUtpbjzW0IWEB7mduatozuMhGZdv5aDN2PUuXEVAQk2kMdnafTXJUu7vnqqXJaS6uSNoDOWITznOwbASA9aV4nLK4sLNsp5lzmmG60tzsaQ/wAxtqou/jsyBqfwTB4rS3jggXVjjXVUcTxLMeLE5knrNNsAwJbVGAYySSNrzTPlzk0h3u2W4cAo2KNg7ZUUCgrP+V3lC8ht+YgP63OMky3xIdhk2ekdoXtzPDbKaf8AKBFhkGs2TzuDzMOe1ju13y3Rg7zx3DsqvJryfyyTnFMTze4kPOQxuNqZ+bI6+iQMgqeiADvyyCV5I+T39H25mnH61OBr574o94i9rPIt2gD0czd56csaaTtQRN9VUxY76tF81U/HrtY0Z3YKqjMk7hQVTFWAzJOQG0k7gKKouk2kxuGKpmsQOwcW7W/tRQQNPsKbVZ5P4aMw9o9BPmwPhTGnanVgPruB4IMz82X4UDUV3OvNdoOmvNdooJPAmyL+yPxpjdn6R/aP404wp8i3d+dN7vz276BGug1yig1DQPENe1Ck7YmKHu85T8Dl7tWqN6yjQjFeauApOSy9A9jegfjs96tPikoGNxBzc4XWMYlk523mXzoLsbSBwycbcjsJ1x6VanobpuLn6C4CxXaDNkHmTKP3sBPnKeK71Ow9Zz27s1mjaN88mG8bCpG1WU8GByI7qY2E3PHya6zFxDk8cqEo7gebPC42q2zaBuIPDYA3yis3wjTy4tgEvUa5iG65hX6ZR/PgHne3H1ebV3wbSG3u017aaOUcdRgSvYy71PYQDQSNFFFAUUUjeXscSF5XSNF2s7sFUd7MchQLVE6SaTRWUQeTNmY6sUSbZZn4JGvHtO4Dacqg7nTxp81w2LnuHlUoaO0TtU+fOexBl6wpPCsCEchnldri5carzvkCF+pEg2Qx+qu/iTQM8MsrmWR7mbJbiVdXXIzS2hzzENtG3nnPa0jAAttyYACrFh2HJCpVAekdZ2Ylnkc73kc7WY5Db1AAZAAV6U1H47pXa2Sa1zMkezMLvkb2Yx0j35ZUE2DVM035TI7NvJ7ZfKb1+ikCZsEY7uc1dufqDaeOQ21ES4zieLdGyjbD7Rt91MMp5F/lINo7x9sVZ9D9AbXDlJiUvKw6dxJkZXz3gH0FPUPEmgr+hXJpIZ/L8Vbn7tiGWM5MkJ9HPLolhwA6K5bMztGlZ0nrVwvQddqZ3ElKySVnOnvKpBZa0UWU1xu1AehGf5jDj6o29eVBKaV6SQ2kRkmbIbQqja7nqReJ+Q45VgelWl0t7Jm3QjB6EYOwdrH0m7fhlSNxc3eJ3Qz155pDkqqM8hvyVRsVRv6htJ66vuB6HQ2AEk2pcXQ2gbHt7c9meyaQdfmA7tbfQVvBNDVjRbi+DBWGtFbA6ss44M53xQnr85vR+sCpbGbxnZmdizMcyxOZJ6yaKDOKcXJ6Ma9S5+LEn8Mqb0tdHpHsyHwAH5UCNFFFAUUUUDiybJu8Efn+Vcux0qTjbIg0tcigbUUUUHVNaporjflEIJPTXoyDt4N47+/OsqqRwLGWtpg42jc6/WX+/EUGzRPSGL4QLhFyYxyodaKVfOjb81PEcaSsLxZEV0OasMwf9bjUjE1AxwLSYmTya6AiuBu/hzDg0R7fq/8AkCZucDglYO0YEg3SoWjlHdLGQ3zphi2CRXUepKN21WGx0PWrcPwNQ0eN3WHELdq1zbbluUH0iDgJRx8T4ndQXKCK7jGUOI3IHATCG5H2pE1/vUqMXxRQQbqI+stmHPwEwP3aRwfGoblNeCRZBxyO1faU7VPeKlIzQRcmKXJBE+JzoDvEdqlv9942I+NNo1w0OJJpvKJBukuZJbhh7IfNV91RVmjal0lPWfiaCK/96W3oc/L2RW1zJ8CI8vnXhtJ7l/8AZ8OuD61w8VsvfkWZz8KnlelFNBWHwfE7n9tdxWiHelojNIR1GeXap7VFPsD5PrO2fnBFzs2eZnnJmlJ6822A9oAqdBr2GoFw1etakNeorHdLbWzXO5mSPZmFJzkPsxrmx+FBNl6icf0nt7OPnLiVY14A7Wc9SINrHurJdKOXl2zSxj1Bu56UAt3rHtUe8T3Cqbhmi2IYrIZjrsGPSuZ2KxjsDnzsvqoDl1UE7pryzT3WtFaa1vCdhbP6Zx2sP2Y7F29vCojRTk1uLsLLKfJ7c7edcEtIP5Mewv7Wxe3hWiaO8nFpZZO4F1MNuvIo5pD6kJzB73z7hUxiOIkkkkk9ZoIy0sYLKIxWqaisMpHJDTTZfxJMhs9QZKOrjUFiN1vp5f3u+q3f3VAwv56Kj7yeigrcY2jvFDtmSes0R7680BRRRQFFFFB2lwcx8qQpSFtuXXQJkVylpk40jQFFFFBYNFNJzbPqvmYmO0byh+sPzHGtUtJwyhlIKkAgjaCOBBrDBVi0W0sa1bVfNoSdo4r6y/mKDYImp2m0ZHaDsI4EVFYdepKivGwZW3Ef62HsqRiagr+J8nUTvztq7Wk28NHmEz9kEFfdOXZTT9M4vZftoVvIx+8jB1su0oMx3snjV2janCNQU/D+WO0bZMk0Lcc1DqD3qdb7tWC05RcPfddRj29dP61FOb3CIJ/20MUna6Kx8GIzHxqEueS3D3zyiZD6kjj5MSKCxJpnZf8AF23+dH/euvp5YLvvLfwkVv6c6pj8i9kd0lwvvRn/ALdCcilnxmuT70Q/7dBYLvlfw2PPKZpCOEcch+bBR86reJcvqDZb2zt60rhR9hM8/tCpK35IsOXessntSkf0BamLLQ6why5u1hzG4svOH4ya1Bl1xygYviBKQc4AdhW1jYZd8gzYfapTC+Ry8mbXupEgB2trNz0p7dVTln7TCtjN0AMhsA3AbAO4bhTSa+oIDBOTiwtMm5vyiQenPkyg+rEOgPe1u+p+6xDt3DIdg6h1DsqOuMQqKusRoH93iFQd7f00u8QqGu76gVvb2oK7uaLm7qLnnoPNxNRTSSSu0DNf71yuiuUBRRRQFFFFB2iuV2geJ0h+NNZY8jXqCXVPZxp7LCCKCNor06ZHKvNAV0GuUUEtgOkcto+tGc1J6SHzW/se0VrWjmlEN2ucZycDpRt569vrDtHyrEAaVgmZGDxsVZdoIJBB6wRQfRMb0uslZfo1yobkux2CZR/Wg/FfhWiJcggEbQRmO47qB+Jq9Ceo4z0m11QS3lNHldQrXlJtfUE217SEl9UK9/TWW/oJmbEKYXGI1ETYhUfcX9BJ3OI1FXOIVH3F9UbPeUD25vqjJ7um01zTSSagUmuKaySUm81JGSg9M1FeM6KD/9k="/>
          <p:cNvSpPr>
            <a:spLocks noChangeAspect="1" noChangeArrowheads="1"/>
          </p:cNvSpPr>
          <p:nvPr/>
        </p:nvSpPr>
        <p:spPr bwMode="auto">
          <a:xfrm>
            <a:off x="0" y="-868363"/>
            <a:ext cx="2514600" cy="1819276"/>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27370" name="AutoShape 10" descr="data:image/jpeg;base64,/9j/4AAQSkZJRgABAQAAAQABAAD/2wCEAAkGBhQSEBIUEhQUFBUUFRUVFBQWFxQVFBQVFxgVFBQWFRQXHCYeFxkjGhUUHy8gJCcpLSwsFR8xNTAqNSYtLCkBCQoKBgUGDQUKDSkYEhgpKSkpKSkpKSkpKSkpKSkpKSkpKSkpKSkpKSkpKSkpKSkpKSkpKSkpKSkpKSkpKSkpKf/AABEIAL8BCAMBIgACEQEDEQH/xAAcAAABBQEBAQAAAAAAAAAAAAAAAwQFBgcBAgj/xABLEAACAQICBQcIBggDBwUAAAABAgMABAURBhIhMUEHEyJRYXGBFDJCYnKCkaEjUpKiscEVJDNDU2Oy0XOT8DREVLPCw+EIFiV08f/EABQBAQAAAAAAAAAAAAAAAAAAAAD/xAAUEQEAAAAAAAAAAAAAAAAAAAAA/9oADAMBAAIRAxEAPwDDaKKKArooFegKDqil40pNFpzElAvDFUpaWudN7SGrFh1nnlQO8JwzMir1hGGgAbKiMMtwgBYhR1kgD4mpldJ7OIdO5gHZziE/AEmgnUjyGyqjjscglGsc1zpljXKlArasMsZHFwHIHwWmlpprYZ6090zt1CKbL+mgvmDopjGXVVL05w1yc+Feb3lbtUGrBme0q4/KoldIY7s5y3kUY6iSv4gUElox0F3+FSMdxrSUwgv7OEZRyiY+oQ34UW4klfNI2A7QRQXuB8o6h573VfYal8KhfUycUwxjCl3g0EvhGK5jInOs15TeScAPd2CdHa01uo83iXiA9HiU4bxs2C0YbMUOWdXHDbvMCgxLko5TTZsLW6bO2c9Bjt8nY8f8MneOG8cc9nxbDkkXgcxsIrMOVrkuAD3tmmza1xCo3cTLGBw4so3bxszyS5JeUMkLY3Lbtls5/wCST/T9nqoJjE7F4WJQmvFnpR6L1YsXAINULF7bIkig96dYEt3DzkYzljBK5b3XeyfmO3vrM8GxDmZQT5p6LjsPHw31erTF2Q5E1VNLcPCS84gySXM5fVf0h47/ABPVQTd5bVC3NvUto1c89Bqnzo+j3r6J/EeFdu7OgrEsVN2Spm4tqYSw0DBhTixTMSdkbH5rScyU7whcxP8A4Dn5rQR9FFFByiiuig6BSqpXjXp3heFT3L6lvFJK/wBWNWYgdZy3DtNB5UAbyBSgvUXrPyqdi0DWP/bbuGE8YYv1q4z6isZ5tD7Ug7qmLGysYz9DaGY/xLty3iIIdVB3MXoKnaYjNIwSCIsx3KqtI57gP7VYrbQ3FpctfO3U/wAaRLc/5eYc/Zq4WeIzFdRW5pP4cKrBH9iIKD451KWNrlQU+05G2fbcXy58eajklP2pTGPxqYPJLh0KF5XupAN/SijB8AjH71XK3XKnTxBlKsMwRkRQUjD9A7STJorKMJ9aaW5dj7qSKPlXcYhw21GqLK3aT2HYffc1KaPXvN3MtsCXRTmufodmfVTbSvRTp+UR9IDa8Z4jrU0Fdw2Ezv0LGz1c+Nsm7vq04hoXaCAu1jahwNuQmUfckGVTejeJxSwjmcgQMim4g9tQOLYnPPceT5c2M9vWR2UEDguh+G3ZKtbvA44wzyZfCYP+NPLzRRrFgLbE7qAHzVnj56LxKE5f5dXnC8DigXPZnxJqu6W45DL9EoLsOI25UELcy4yi6xVbuIbTJaEM2XWYcg/3RTnR3EY7ttQXWrLuMMo5uUHiArecfZJq1aGwMsY1gR1U90swO2uYybmBJiBsc5rKvszL0h8SOygaw6JsN5zqWs8LZKoeH4peWuy0ka+hX/dpyPK4wP4Mo2TgfV39SjfUzhfKKbhC0cZOqdV13OjcVdTtU7/hQXdE2bawbla5OvI5PK7UZQswLquzmJCdhXLchO7qOziK0xtM34xsPCm93pWkqNHLHrI4KsrDYynYQaCs6GaV+XW2Tn6eIASeuNyyDv3Ht7xSuIYaWzrOrpHwrEFkhJaIklM/TiPnxt2jd9k1sVjIk8aSxnNHUMp7D19R4EdYoM/u8GOe6o/EMGaSFky2717GG7+3jWsHBweFNptHB1UGFaK3vNXSg7A/0beO74Nl86vl3ZVUuULAja3rZDJZQJV7CSQ33gT4itAw36e2il+ugJ9rc33gaCo3dlURcWtXm9sKgbyyoKheRZKaWwJcxddls/8AVGPzpxi8GSHw/EUno8Po73/634z26/nQRRFFKOtFA3qfwfQi5uI+dIWC343Nwwhh91m2yHsQMakf03Y2Wyzh8qmH+9XSjm1PXDabh1gyEnsqAxfHZ7uTnLiV5W4FjmFHUq7lHYABQTobDbXzVfEZR6T61vaA9iA87L4lAeqvN5pdczpzZcRQ8LeBRBAO+OPLW721j21Wo6kLRaCUsLbdVow2z3VCWGQqYjxEKKCyWqgVIRXaiqYMWJ3U/s2ZqC5294DTu4uCsbMBmQCQKq82KQ2ihriRU4hd7t7KDae/dUTinKVIFzhiSCMjNZbonWccDHbpm7Dt2jryoLHoQisJZtYNJI51wN69Qyo05xwRRc3rKpkORJYDIcd5rHbjSPJnZXmdnJLZN5PESeBiiOZHvDuqNbGG9FIk7o1Zvtyaz/Og23RzGMOtoxndQ652sdcMc/dzpppTpVbySRGF82B/aBXAHiVrGmxic75pe7XbL4Z0ib1zvd/tH+9B9ESY5bz2+o1zAH1eMirt94ikdB4IM2A1WkB25ENn2jKsBTFJV3SyDudh+dLRY9OpBEjEjcWybL7WdB9WPMiDpEL8qicW0hg5tlDqSRwNYlhGkOKzpqxxT3KerHK48CvRHwq16P219Gc5sJuXXjsGt4ZgfDLxoLHoxaq0hPbVjxjRFZnFxC/MXaDJZwMxIP4dyn75D29IcDsypnb6R28Qzltry2HEy2k4Ud7xqy/Op7CMdt7kfq88UuW8I6sw9pRtXxFAywPE1nZ4LiIQ3UQBkh3qynYJoG/eRMeO8HYdu+SlwCFt6CkcbwMXCoVbmp4iWt5wM2ifjmPTjYbGQ7GHbkQpgWLmZXSVRHPCQs8QOYViM1dCfOicdJW7wdqkAK7pdyZRXds8a5K+WtEx3LIN2fqncew9lZ/yN4myTzYdPmrqXaNW3q6E89H37C3ut11vArFuWbBHsr22xW2GR5xBLlu51NqMex0UqfZ9ag1NbHsrrWlOsJxFLm3inj8yVFkXsDDPI9o3HtFOGjoMe5ccB1rOKcDbDJqn2JBl/UqfGmPJRLztgyHfFKw91wHHzL1pPKBhPPYZeJlmeZdh7UY51fmgrKOQmXOS8j60jcD2WZT/AFigtd9YVXL+xrQ72zqt4jZ76DMdJ4NWI96/jUfo9H+r3rfy4U+1PE/4Rmp3TuPVhHbIB8mP5VF6Px/qNyfrT26j3UuGb8UoIaVKKc3EdFBGEVyu50UHtDT63kypgtKq9BMJe5UtFckmoZHqStHVRrMcgN//AI6zQWTDLcZazEAAZkk5ADrJO6u3GlLMHWz1URP2l3LsjTPcEGRJY5HIZFjkcl2Z1BSzGWPnbgtFagkRxqQJLl13qmezZxcgquewM2QMHieLNNqjIJGmYjiTMRxg78gdpY5DNiSxy2k0D66xxUYmHWklPnXU3SlJ640JIi7+k2zYV3VDTTs7FnYszHMsxJJPWSdpNeKKAoopQQ7MzsHDrPcKBOu5UpGhZgqKSSQAAM2JOwAAcewV9EclfI4loqXN6oe5OTJGcisHEZjc0vbuXht20Gf6D8hl1eBZbkm1hO0awzmcerGfMHa3wNbVo5yW4dZAc3bq7j97NlLJn1gtsU+yBVsooOAV3KiigKh8Y0QtLo600CM43Sgaky+zMmTr4GpiigpsuDXtntt5DfQjfBOwW6UfyrnLKT2ZBns8+kRfpc5XNpreU22aSwOObmZDtktpo22qxy1kJ2BwMjqs2d4qA0i0VE7LPA3MXcYyjnAz1l381Ov72I/VO7eMjQO7O7WWNJEOsjqGU7swesHcescDspjpTgC3tnPbNl9KhCk+i46UbeDhT8aidF8ZJnlgkTmZdYtJDnmI5iCzmM+lDKAZVPWJc9tWsUGZcguLs1nPaSZiS0lI1TvVJCx1fCRZPiK0/KsqsIfItLJEGyPEIGcDhr5c43jrwyfbrV6Bvc24dWU7mBU9xGX5189chAIxOdD/AMNID3rJDX0cBtHeK+fORGHPGrwjcsM/zmiAoNfu7eq9iNrvq4XMVQWIQb6DF+VDorCvWzH7IA/6qaYRbkYbFn+8nnf3VWGNfmJKV5W5v1qJPqx6x72Y/koqSNnqWlon1bdGPfKWuPwlUeFBU7uKind9FRQVUGvYpKvQNApXoGvAr0KBeM5bTuqSw2zWRTcXGYt4zqqgOTTyZZ80h4bCCzeipHEqCzwjDfKJNUtqRIpkmkyzEca5azZcSSQqrxZlHGu49i/PMqovNxRjUhjzz1Ezz2n0nJJZm4sTwyABDFsVe4k13yAACoijJI0Hmoi+io6u8nMkksaKKAroGdcqXWIWyBm/bMOip/dj6xHX/rroGzQCIdPa53JwXtbrPZTOSQscyczXHYkknaTvNTOiWjT313BAgIEsqozD0RkXc94RXbwoNY5BeTwEDEbhc9pFqp7NjTZd+ar3Meo1uNIWVmkUaRxqFSNVRFG5VUBVA8AKXoCiiigKKKKAooooCiiigqunOjryql1aj9btenH/AD0B1nt36w2WzqbLdmaksJxSO5gjmiOaSKGXryO8EcGBzBHAg1MVTsMj8lxG4tt0VwDeW44K+YS7jHvtHJl/Nagr3KfFzWIYJdDZqXYhY+rIUIHwEnxrSRVB5YIs7K3bjHfWrD4uv/VV/O895oOSSaoLHcoJPcNtYb/6drfXnv5j9SNM+13dz/yxWr6c4jzGGXsueRW3lC+0ylE+8wqm/wDp/wAK5vDHlI2zzsQetIwIx94SUGhTpUPfRVOyrULjNwsUUkr+bGjO3coLH8KD5z00Bu8ZkiQ5lpY7dO8asf8AVnV6x6MF31fNByT2F6KfdAqncmlq1xibTtt5pZbhj/MboR+POSK3umrzikO+go+IRb65TzEot9FBnldFcooFBQTwHGvINTejqc0JLthnzJCwg7muWz5vZxCANIfZUelQKYufJohaL5+YkuyOM2R1Yc+qIEg+uz9QqvmlJXJJJJJJzJO0kneSaSoCiinFhZmWRUXex39Q3k+AzoJDBrRUVriQdFPMH1n4fD8e6oy6uWkcuxzJP+gOypTSO7GssKbEiGWXW3HP/W8moagWtLVpZEjQazOwVR1knIV9CclmjKQ3pRciLO1XWbLzri6Yl3/y4FUdjVmvJLgmvM9ww2RDVT22G0+C/wBYrauTJM3xKTibpY/CO3gy/rPxoLzRRRQFFFFAUUUUBRRRQFFFFAVVdO15vyK6Gw293Ern+TcnyWQd2csbe4KtVVrlJh1sJvutYHkHYY/pVPxQUETymR69tbR8ZL+yT4yZn5A1cc6qukP015hce/6aS7bsWCIhT/mTx1aRQZty+YvqYdHbrte6mVQo3lI+m2Xv80PGrvorgotLG2txlnFEqtlxfLOQ+Llj41nd1H+lNJ1XzrfC1BbipmB1su/nCoy6oDWs0CcgrNeW3GuYw1kBye4cRDr1R05D3ZKF9+tLevnnlav3xHGYrKDbzRWBernXIMrHsXog/wCGaCX5JsE5rD3mYdK5kzH+FFrIvxcy/ZFSeKR76tn6OSGGOGPzIkWNOvVUBQT2nLM9pNVvFE30FHxNN9dpbFF312gyuiiig6qkkAbSdgHXU5pBII+btV3W4Icjc07ZGY9uRCxjsiHXSOjo1Hec7rdddc9xlJ1YR9shu5DUY7Ekk7SdpPWeNB4NcrtcoCrFgCCGCW4O/Iqnyz+Lao8DVeAqx6RHmoIYRwG3vG/4sSfCgrjsSSTtJ2nvoArleo1zOVBt2gdiIbCEcXHON3vtH3dUeFXrkvcf/JLxF5r+D29uR+Bqs2qhVVRuVQo7gMvyqR5Orzm8WvYT+/ggnTqzizhky7cmT4UGnUUUUBRRRQFFFFAUUUUBRRRQFVzlHm1cJvz120qjvdSg+bCrHVQ5S5S1tBbous91dW8YXrVHFxIT6urCcz1GgUwqDXvJpTuhjS0jPav0twR7zRJ3wmvemmky2FjNcHLWVcolPpStsjX47T2KakcPtBFGqA55Zktxd2JZ3PazFm96qNzf6YxQHzrDDX2fVubzZnlwZE2f/j0EryVaKtZ2IabPym5bn7gnztZtqoe0A7fWZqudeQa9UEFprpKthYzXDZZouUan05W2Rr8dp7AayXkO0aaSSfEZs2ObxxM29pH2zyfA6ufrt1V45TcXkxjFYcNtDnHE5Vm3qZf3sjerGoI8Gy3ithwzCI7W3ighGUcSBF6zltLH1iSWPaTQMb8VVMVXfVtv6qmLcaCl4qN9cruK8aKDKKKKVtoC7qg3swUd5OVBI3J5u1ij4ykzv3DOOIfDnG98VGGneLXIeZyvmjJE9hAET5AU0oOV5r0a80D7BYda4jHANrHuXpflS+ks+tOfVAH5/nRo4PpSepD8yB+Zppib5zOe38NlA1pa1PTXvH4ika9JQb+r7ajr/EDaXlneDPKFmWXLaTEQedGXHKMyv3xCvWG3gkijcemit8QDSuI25kiZVyLDJkz3F1Oag9hy1T2MaDaopAyhlIIIBBG0EHaCDxFeqznkp0pUotk5PRTXs2be9uN8JJ/eQnoEfVAPA1o1AUUUUBRRRQFFFFAUUUUBVM53yrFZJBtisEMCHgbmYK85B9SMRp2GRhUtpbjzW0IWEB7mduatozuMhGZdv5aDN2PUuXEVAQk2kMdnafTXJUu7vnqqXJaS6uSNoDOWITznOwbASA9aV4nLK4sLNsp5lzmmG60tzsaQ/wAxtqou/jsyBqfwTB4rS3jggXVjjXVUcTxLMeLE5knrNNsAwJbVGAYySSNrzTPlzk0h3u2W4cAo2KNg7ZUUCgrP+V3lC8ht+YgP63OMky3xIdhk2ekdoXtzPDbKaf8AKBFhkGs2TzuDzMOe1ju13y3Rg7zx3DsqvJryfyyTnFMTze4kPOQxuNqZ+bI6+iQMgqeiADvyyCV5I+T39H25mnH61OBr574o94i9rPIt2gD0czd56csaaTtQRN9VUxY76tF81U/HrtY0Z3YKqjMk7hQVTFWAzJOQG0k7gKKouk2kxuGKpmsQOwcW7W/tRQQNPsKbVZ5P4aMw9o9BPmwPhTGnanVgPruB4IMz82X4UDUV3OvNdoOmvNdooJPAmyL+yPxpjdn6R/aP404wp8i3d+dN7vz276BGug1yig1DQPENe1Ck7YmKHu85T8Dl7tWqN6yjQjFeauApOSy9A9jegfjs96tPikoGNxBzc4XWMYlk523mXzoLsbSBwycbcjsJ1x6VanobpuLn6C4CxXaDNkHmTKP3sBPnKeK71Ow9Zz27s1mjaN88mG8bCpG1WU8GByI7qY2E3PHya6zFxDk8cqEo7gebPC42q2zaBuIPDYA3yis3wjTy4tgEvUa5iG65hX6ZR/PgHne3H1ebV3wbSG3u017aaOUcdRgSvYy71PYQDQSNFFFAUUUjeXscSF5XSNF2s7sFUd7MchQLVE6SaTRWUQeTNmY6sUSbZZn4JGvHtO4Dacqg7nTxp81w2LnuHlUoaO0TtU+fOexBl6wpPCsCEchnldri5carzvkCF+pEg2Qx+qu/iTQM8MsrmWR7mbJbiVdXXIzS2hzzENtG3nnPa0jAAttyYACrFh2HJCpVAekdZ2Ylnkc73kc7WY5Db1AAZAAV6U1H47pXa2Sa1zMkezMLvkb2Yx0j35ZUE2DVM035TI7NvJ7ZfKb1+ikCZsEY7uc1dufqDaeOQ21ES4zieLdGyjbD7Rt91MMp5F/lINo7x9sVZ9D9AbXDlJiUvKw6dxJkZXz3gH0FPUPEmgr+hXJpIZ/L8Vbn7tiGWM5MkJ9HPLolhwA6K5bMztGlZ0nrVwvQddqZ3ElKySVnOnvKpBZa0UWU1xu1AehGf5jDj6o29eVBKaV6SQ2kRkmbIbQqja7nqReJ+Q45VgelWl0t7Jm3QjB6EYOwdrH0m7fhlSNxc3eJ3Qz155pDkqqM8hvyVRsVRv6htJ66vuB6HQ2AEk2pcXQ2gbHt7c9meyaQdfmA7tbfQVvBNDVjRbi+DBWGtFbA6ss44M53xQnr85vR+sCpbGbxnZmdizMcyxOZJ6yaKDOKcXJ6Ma9S5+LEn8Mqb0tdHpHsyHwAH5UCNFFFAUUUUDiybJu8Efn+Vcux0qTjbIg0tcigbUUUUHVNaporjflEIJPTXoyDt4N47+/OsqqRwLGWtpg42jc6/WX+/EUGzRPSGL4QLhFyYxyodaKVfOjb81PEcaSsLxZEV0OasMwf9bjUjE1AxwLSYmTya6AiuBu/hzDg0R7fq/8AkCZucDglYO0YEg3SoWjlHdLGQ3zphi2CRXUepKN21WGx0PWrcPwNQ0eN3WHELdq1zbbluUH0iDgJRx8T4ndQXKCK7jGUOI3IHATCG5H2pE1/vUqMXxRQQbqI+stmHPwEwP3aRwfGoblNeCRZBxyO1faU7VPeKlIzQRcmKXJBE+JzoDvEdqlv9942I+NNo1w0OJJpvKJBukuZJbhh7IfNV91RVmjal0lPWfiaCK/96W3oc/L2RW1zJ8CI8vnXhtJ7l/8AZ8OuD61w8VsvfkWZz8KnlelFNBWHwfE7n9tdxWiHelojNIR1GeXap7VFPsD5PrO2fnBFzs2eZnnJmlJ6822A9oAqdBr2GoFw1etakNeorHdLbWzXO5mSPZmFJzkPsxrmx+FBNl6icf0nt7OPnLiVY14A7Wc9SINrHurJdKOXl2zSxj1Bu56UAt3rHtUe8T3Cqbhmi2IYrIZjrsGPSuZ2KxjsDnzsvqoDl1UE7pryzT3WtFaa1vCdhbP6Zx2sP2Y7F29vCojRTk1uLsLLKfJ7c7edcEtIP5Mewv7Wxe3hWiaO8nFpZZO4F1MNuvIo5pD6kJzB73z7hUxiOIkkkkk9ZoIy0sYLKIxWqaisMpHJDTTZfxJMhs9QZKOrjUFiN1vp5f3u+q3f3VAwv56Kj7yeigrcY2jvFDtmSes0R7680BRRRQFFFFB2lwcx8qQpSFtuXXQJkVylpk40jQFFFFBYNFNJzbPqvmYmO0byh+sPzHGtUtJwyhlIKkAgjaCOBBrDBVi0W0sa1bVfNoSdo4r6y/mKDYImp2m0ZHaDsI4EVFYdepKivGwZW3Ef62HsqRiagr+J8nUTvztq7Wk28NHmEz9kEFfdOXZTT9M4vZftoVvIx+8jB1su0oMx3snjV2janCNQU/D+WO0bZMk0Lcc1DqD3qdb7tWC05RcPfddRj29dP61FOb3CIJ/20MUna6Kx8GIzHxqEueS3D3zyiZD6kjj5MSKCxJpnZf8AF23+dH/euvp5YLvvLfwkVv6c6pj8i9kd0lwvvRn/ALdCcilnxmuT70Q/7dBYLvlfw2PPKZpCOEcch+bBR86reJcvqDZb2zt60rhR9hM8/tCpK35IsOXessntSkf0BamLLQ6why5u1hzG4svOH4ya1Bl1xygYviBKQc4AdhW1jYZd8gzYfapTC+Ry8mbXupEgB2trNz0p7dVTln7TCtjN0AMhsA3AbAO4bhTSa+oIDBOTiwtMm5vyiQenPkyg+rEOgPe1u+p+6xDt3DIdg6h1DsqOuMQqKusRoH93iFQd7f00u8QqGu76gVvb2oK7uaLm7qLnnoPNxNRTSSSu0DNf71yuiuUBRRRQFFFFB2iuV2geJ0h+NNZY8jXqCXVPZxp7LCCKCNor06ZHKvNAV0GuUUEtgOkcto+tGc1J6SHzW/se0VrWjmlEN2ucZycDpRt569vrDtHyrEAaVgmZGDxsVZdoIJBB6wRQfRMb0uslZfo1yobkux2CZR/Wg/FfhWiJcggEbQRmO47qB+Jq9Ceo4z0m11QS3lNHldQrXlJtfUE217SEl9UK9/TWW/oJmbEKYXGI1ETYhUfcX9BJ3OI1FXOIVH3F9UbPeUD25vqjJ7um01zTSSagUmuKaySUm81JGSg9M1FeM6KD/9k="/>
          <p:cNvSpPr>
            <a:spLocks noChangeAspect="1" noChangeArrowheads="1"/>
          </p:cNvSpPr>
          <p:nvPr/>
        </p:nvSpPr>
        <p:spPr bwMode="auto">
          <a:xfrm>
            <a:off x="0" y="-868363"/>
            <a:ext cx="2514600" cy="1819276"/>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27374" name="AutoShape 14" descr="data:image/jpeg;base64,/9j/4AAQSkZJRgABAQAAAQABAAD/2wCEAAkGBhQSEBQUEhQUFBQUFBQQFRUUFBQQFBUUFBQVFBQUFBQXHCYeFxkkGRYUHy8gJCcpLCwsFR4xNTAqNSYsLCkBCQoKDgwOFw8PFykcHCQtLC8sKSwpLCwpKSwpKSkpLCwsKSkpLCksKSwpLCwsLCkpKSwpKSwsKSwsLCwsLCksKf/AABEIALEBHAMBIgACEQEDEQH/xAAcAAABBQEBAQAAAAAAAAAAAAAEAAECAwUGBwj/xABAEAABBAAEAwUEBwcDBAMAAAABAAIDEQQSITEFQVEGEyJhcTKBkaEHFCNCcoKxM1JiwdHh8DSSskNzk/E1Y8L/xAAaAQACAwEBAAAAAAAAAAAAAAABAwACBAUG/8QAKBEAAgIBBAEEAQUBAAAAAAAAAAECEQMSITFBBBMyUWFxIjNCgcEF/9oADAMBAAIRAxEAPwDxhkha4nleo8tlqHBiSMOiGuuYEmj8Sqp4PAAOdGue2w6q/h5LGGvgQQdRr6/qsspWrQ5KnTBH8McNeo01seYJUIIyHURd6I4Tua0l248NcqN/58VOSUWC0WKsDnQ0I8yD8qU1OgaV0AYrA6227q6OhCqija/2jlNb1YJ9BqFpGcaEnY0COQ1/sfiqpsOMxBNFx0IGh/oipvslGTl8x5HX9EoXUb10N+/15FGv4YaNEHoOe4/qs9w1+ScmmLao7Dgfatp8MpogCnHZwrUH50ul4BxAYDFnEtzdxIC3ExtF6a5ZWt6tdqedF1bleVhml8udLquynaAmQQv2cKadLBDeZ5ggD4BZ5QeJ+pj/ALQGrR9G4WdksbZI3B7HtD2ObqHNIsEK4sXmnYbi/wBSmEDifqs76j5jDzPOgHSN5IHQOI2BK9Ryrq4cyyxUomWUdLoCljQkjFqvjQskK1RkKlEzHMTNCLfEqnRJ1i6oraUJio0a5nNVSNtFbMj4MHERIKWJbmIgQMkK1wkZZRMWeJBSRramgQ7sKtCmJaMpkNkLehw1NVeFwHiWvJDTUjLk4RoxRfLB8Nh+aUrUY0U1VshtZb7NKQAcHzQk8d+i3MW2m0FldyXGuXNGMr3BJGW+G/RCmDVbckCDfAmqZRxMqViG+rWtz6ne6pmw+itrIkzCkhpDujWvJheugQszKVrLqRnubSgXKcrkOXKsnQ6zEhAINm6I2BvT4/4FS7ib2k5XW27o6i/JUhzgNHenIj+vuSkpxs6darr05rymj5Oi2GPdnq9GncjWvI1yVBw72EOaczWGwQQQOtjkrsNJkcKIc09fCRfS/Nazccxjr7tpNaj2czSNdhyPlsUptx4RZKx3YaKRhcRWmY5Tz+9pt1+CAnwL63zgCwWjMeVEjlvsroC1xLspYWa0LLXs53/OvgjOEM7t13YeaBbr4b0vp6pd6S9JmT3uocNtPmdaRsnCmdy6RzCbAAI0pzjTRpy57clry4KJpaHANzOAFbaixYO3PbTVPjmZIwMwoODqNFrhdafL0IKGvii6hV2cIWEH0010/wAKi1xBBGhBsEbghdRioo5LaW5SxuZpAursuscxsuXmipxG9fMdfRa4T1GaUdJ6LwDtC2ZlHcAB7T8MwXsvZjtK3FMDSftmjxjKdQK8e1AGxvzXyxhMS6Nwe00QfcfI9QtzAdtZmTB5cWjT2PC5tEU5rhrYr0301VMcHhk5Q4+CkkpL7PqcsVT41k9hu1sfEcI2VhGdvglbsWvHPLyDhRHqRyW+5i6cZ2ZnEznxKl0S0Xxqh0aepinEB7tVS4daJhtRazqrawaTFliQUsK6DE4PmFmzQrRCdiZwoxZYVU2BacsKrbGn6thOnchhYFZiTsFIvoLPkmJclqLk7GalFUFZsxpENYhcNHqipCUuS6Gxe1lEzLNKssrQe9EVQ808MSrdF+TOdhSVF2EAWrJSEeFFJslIBdh0PJh1pmkJiJQFZNgdGRimAbrCxr1t4yQnZY2IaOa0wQpvcyXqosRcjSeSr7pXcbG2YMeOw0vtsdh3/vQ/aRX1MTjbfylWydn3OBfEW4ho3dCczgP44j42/Bc6rIZ3McHNcWuGxaS0j0I1C8tp+Dp6vkKfhTyN17iNdk/ekEDp566/yR0falz6GJjZONs5+ymA8pman8wci4ocPL+xlDXH/p4moz6NnHgP5sqq77CqfAJgca5utHw79CP86LX7OtLg8yACPMHA6CtdcvQ+W2osLNx3CZIj4w9hI8Ob2XebXey8ehVDsVIxoZ93T1PqeWiTKGpbDIujfx03eOeCc2Wg29DuHA+u3zQvEJw6FmfQh5Y6hsCCLryIQf1xrn+HQhg35uGvTavnaM4dw4zRjO+ml2XLYzAnVtHWxp0003tKrTyXu9gbg0ThI/PTvB+IEciBzB0UcHF3jHU0ULNUc1ucdB5V+hWg7hskOsZDw227jOy/kR5hLiLpJSymZNLeSC2yNgTtyPxU1WyVsc/isAC/Kzeh6WenTcIKXCObuCK/kuswnDPtXPHhy043e3TnR00tMMBYcXtB3d1aQKNNJF8xv5pizVsL9MyeyPambh+JbNCejXsN5ZGWCWOH+Uvqbs9x2LG4Zk8JtrxqD7THD2mO8wfcdCNCvl/j3CWNaHtGUuI8INgCgfdvaJ7C9up+G4jOwl8bqEsTicr2jp0eATR/UWFpx5L3QmcK2PqZzFS+NR4JxmLFwMngdnjkFg8webXDk4HQhFvYtUZGdoBy0pmIO9Va6NQApMuylUQY3kUDjsFS1SL9VB7bFFGM2nYXG0c1JChXwrbxGHQMkK2xnZklCjJliQph1WxJChnxJykKcSEOgU3HRLJakyK0t/I2LIxxcz8EpZFaYK3VEsZKpyxnBS+VDySJ5WUh8hKYolHIqkmPJDvHVHhgG+iqne0bIkMXFWsx7VsYqzssnEYcrRAS+QZ7gqTIFGeMoctKbQ1JHBpJ09Lyp1Bk4KVJKENHh3HpoBljech3jcBJE78UbgWn4LUh43h5P2kboHfvwfaR++B5sflf7lzaSDimWUmjrH8B70ZoS2YAWTASXgfxwkCRvrlrzQGSRhtniojUUKrqBrY2WLFKWkFpII1BBog9QRstyHtY819Ya2flmdbJh6TN8R/PmHklvGyymuy3B8bLT4hZ9oki6ddj3rewfEbeXNIGYggaZQ0inXprRF+9ZTBhp/ZkyO/cxFMPo2dvgd+YMVOL4NLE4btFeEO0Dhd+Bw0cPMErPPCn9DYyo2WZftGgu9twe01XPKRW3MhSwUdtLZQWkHXSrqga+IrrSxocdkeTI0hxI6jXqK3r+a38PMx0V5i4gUBV011bu5ijt5abJE00Ni0ynENDgCAHDxH2qA1Atw57eqx8d2fbJb4iNLzNHI76cz6ei6WM+JrRlcMosVsc3PWzZB1rkq4sPllDwD9ruay0QSBf7tVVdKQjNx4DKNmX2C7ey8JxBDgXwPIE0V6j+Ng5PA+I0PIj6X4bxGPEQsmheHxyND2OGxB/Qg2CDqCCF818Y7PMcQNGP3PJta6vPrfwK0fo57cS8JxIgxFnCyG3g+IxE6CVgHpqBuPMBb8WZSRinja3PohzFU5iuw+IZIxr43B7HAOa5pDmuB2II3CdzVrUjO0DJOVjmKshM5KgswQUsa0ZGqh8adF0KkrMySNDyQrRkjVT4U9SFOJnNh1R0MApMGK1uyE3ZaCoqlaFnzNK0zChJ8OUIstIx5jSG75HYjDqluCWlNUId2DdzfNI4Ieq0I8MAraAVHP4GKPyYcuD6BBTcNJXTEtVbyOQCiyNBeNM5J/BSqzwJdY5voodwOqv60ivpo+dU6SdcI6QlIJk4UIKk4aknCJBsqfKpAqbVZEKwFocP4zNCKY8hp3YafG78UbrafeEMGKQiVtnyDdG5HxqGUVNF3ZP3ovGz3xPNj8rx6IhnByQThpBIMp0YS6h1MRAkGnMtrzXOiJTZYII0I1BGhB6gpcsMXwWWRrk38Fj3Rn7ZprUBzfEG+a6GDHB3jYWu9kE3uCQTYPn8yuXg7Qyf9UCYdX33n/lHiP5sw8kVE+F5uN7oH/xUB/vaMp9XBnqsmXxHyh8M6OjMwJL3DVjTbd9KstP99NEBiuGidtPaGl2rTVOBPIk8qGvqnHFZYx9tH3rTtIw+I1zBGjvylaOFxscoJhcHEfdykObrZ8O40JFhYmpY+jTakb30G8fkZJNw+bZuaWHyogSNHkbDh+bqvYSF898T4GZHNLHGKVotjxoeQ8WgNVoK/e6LuPop7cyvJwGOJGJYC6J795oxqWk83tGt82/hN78GdTVdmLLicdz0hzVU5iJIUHNWxMzNApYqXxoxzVU5qapFGgJ8KHe1aYYDoVTNh0yMyjiZTmKcbVe6JRA1TW7QtKmPlQs0aPEdqEmDtLUqY2rMKZiqES1JeHeaHfgK5p6mhWlgf1c/wCFROCPVGiGuYUxGOoQcgqJnnBnqFWcL5habolQ+JDUX0gBw6h3A8kU9oVJI81ZMB812nBUUlyjYTtOoWntQhYCnVdpWiQuCkFRakHIoASFa1CNeptkKuSwxpVoQbZSrmyq1FbQUGKbWodkqua9W3K7BmFxTmey4tvcD2T+JuzveEZ9YY/2207k+I5HD3X+hA8lmNKtag4qXuRFJrhnT8K4s9mUOd37W7Hado9D7YWlxDDfWe7kw8ndzwnNHK3QtdtTuYFjppfRcbG8hHwY42C67GzgSHD0cNfjYWOfgpvVjdM0R8qlU1aPeOwvak4zDkSjJiYSI54+jvuyN6scNQRzscl0lLyj6NeMs+tjvHfaPiMIe6ml/iD2scBoToaOm56r1cK8VNKpqmLlpb/S7RAtVbmq+lFwTEyjQK5iTVc5qgWq9laBZ4VSIwd1oFlqiSGkxT6KuPZSMPWyZ2m6va6k51QsKQG5gKpfAEXLH0Qr31urL6AwV+FCqMNcvmi+9VbyOivbBSKDGOijlCm6lAgokF3I6KJwzeiVlLvChuE+VEkklgNAk6ZOiQdIJk6JB1IKKdFAJBTBVYUgroqy5qtaVQCrGlMTK0EsKvY5CMK0eGcLmnNQRSSnbwNLh7yNB71a6K0Ox6va9dFD9G8zGh+Mlw+DYdftZA5/uY3Qnyu0738Lw+jRiMc8cyfqkF+QFyEKeougaGYTZETgzmeG5mMv7zyQ0aXqQCfkjZe2ktFuHZDhWEURBGGvI6Omdbz8QsIPR9Rk0I3nTxsIqQyb2WMLADyyl9E+uUe9eo/R/wDSQ2fLhsQSJNGxyOIPefwuNCn9Dz9d/E2ao7AP1Qv1NmHTo3R9RApiFw/YztXI9gbMc9BgzGs2sbHg3972jv0XbskDgCDYOoKxRmm2l0PcWkmMVGlNwUEwqNSRCcJI2Sil0SqdGeSJITEWrKRVoDceqHmiRz2dVS+JXTKtGVJEqy0hHTw+5BuJG+oT07FNUDSofvSOa0dCqZcGD/ZWUl2Cn0C/XOqX14KMmDIQrsOVdRiwXJHzMnSSXKNok6ZJEg6dMnUIOE4TJ0SD2pAqKIwONdDIyRlZo3B7bAcLabFg6FWsBucG7BY7E0Y8O8NP35AIGf7pKv3Wusw/0Qd0M2NxMcTRROSmt/8ANLlF+jSguL/TXjJmgRtigdQBkYC+Q+jnkhvuHvXFY3iUs7s80j5HH7z3F5+JOii1P6JseiHiHBcH+zidjZBsXeKO/N0gDT+ViB4l9K2LkGSAR4WPYNhb4q/G7b8oauFaVa0qyiuwWGzYp8ji6RznuO7nuL3H3nVO1yGa5WtKvdFasvBV0bbQ8aMiFKjZZIm7QK3BO3Qsr1fhdleHJWfB3nZrHFr49dHRMd11jkfER/ta0+5dbB2idg5TbXvgcM9t1DaBsVvfhoV118vO+Gz1HA7pJPCfRzYnN+b3LscLjO9jb3g8VEHfKaI1PTWr+K4nl3jzuS7N+CpY0mei8I45Dio+8hfnbteoo0CQb56o4heXYPEOw0ofE4B1nvIx7EzRuDp4XgbO9L8vROF8TZPGHxmxsQdHNcNC1w5ELXgzrIvsRlxOD+gshMVJMtQkrzJJ3NUESEyLVLmUrLStTggO5iFmwnRHOaoEK6lQGkzGkgo6ikha1Hx2gpcPWyYp2LcaKSFEwhSzdVIOU3DsfIqdMnWQcJJJOoQSdMkiQkkmSUISCdRTogJgqQKrCkCroBa0q1pQ4cpBytYAoOVjXIVjlYHIFg6B2qLc9BxaBTD1CFjnIuE6LPB1RcbtFeJSR0GAObCS/wD1zwSe57ZY3fMRrq+F4h7qcfExxDgCLtjmW4D+XvXI9nXZm4pn72GdIPWCSKb/AIsetTgGNPdsbf7J/dkfw2XMPwv4Llf9GPEjZ4z2o6fEPy22j5nK4NI5HPRA35m/cmwvF5cNKJI9nUHN+67U+03ffS9SDXU2ZA4XRNh9hp6HYj05rFwOIsGNzTbCWuB89Nd+le6+S5cW07XJqyRUlTPVOCccjxMeZho/eYSCWn+Y6H/0tFePcOx0kMhcwlrm7agX0J9aAI2NHoCvQOAdrGTgNfUctDwkinebDz9Nx57rreP5Syfplszmyi0dCq3BTBUXLcijK1EqZUSVagWNmUHJ3BRJQoNkbUXttJyhmRIUywqgwo3NagWKykBo+Ok6SZZxg6SSShBJ0ySJB06ZOoQSdMnRISStNaQRASCkCoWnCKZCxpKLhahogigOaJC9OHKjOnzqIhex2qIY5BscrmPV0UZ0vYpwOOiYdpe8w59Jonxfq4K7s5NU2R+ge3U395nKuule8rC4Rje6xMMn7k0T/c17Sf0Wzx6P6vxCQXQjxUg/K95I+RCy+VHVFofgdM7nCSZ2ty6UcwvpWhQXGGOZM2ePTNq6gSc3O29NB8UThZQQ6RtjIM3QUcpJr/cfRLir2yRZhtZ1/ddtm06alcFHRatA2KxBdqB4gXU32czP66D/AGjzQ+ExTJm6b9DoQenkU0UJdGzMTmF046+Nul6b3YPnSycbA+MiaP72kgbRaH89OQOpHnY6BTQpfTEZYKSs9P7G9oRRileL0LHE79Qb2O39ufZ5l4hwrijZRQJa8C/T+o05Lo+A9uXwOyTguiBre3x+nVvle1UeS6Pj+X/DJz8mNx2PSCUxVeGxbJWB8bg5p2I1H+eSsyrqJ2IoiSokKTwqyVcFkSq3KZKgVKDZWSlnTOUEaDZ8gJJJLMNEkkkoQdJJJQg6SZOiQdK01pKEHtOCoqQRIOFNoUWhXMCJCyJqsL1XajmRIXBybMqw5IuRIENerWuQrXKxr1dC2EZ9F1v0geLEd4Np4MNih5l0TQfm0rjQ5dn2h8eC4bL1wz8OfWCTKPk5KyLgZA2uyWNL4A4j7j430dCCAGmuZ13Wjwicd6+Ii2Pst00I5Liew+JI+sR+LUA0L0II1HxXSwS5yXa52Ekg66Gz4a3olcHLHTNo6UHaQLJE9swhfI5sOd4oa2adTTWtUOXlWuqKBeCWuaW2AC2qvTNl9diOhtEdoCHMa8+Y0B1IGt+4EqH10SNza96G2ASBnAF7nSro30d5Krd0Ha6ZzeJ+yeHAgEG2k6XqRoPPmP57asc/etz7PaDYabDmWacL3rX5jkhsXh++Z4mjNo8DR1XVtDhuNQf7bZ8UxsOFghwJHNrts7b221B35qSjf5MWSFM6HA8UmgdmhkfGQbIafCdjRadCvUOy3bKPFtr2ZQBmaSBmNalgu+R05ee68hGIa7agSLociNwPL+vkox4h0bxIwlr2mwQaNrR4+eWN0+BOnemfQBVT2rj+yn0hMmaGzkNeNM2wP4h93129F2drsY8ikrQuUWuQVyrcURI1DPC0LcS9iBcoWk5QzK2kGo+RUkkliNYkkklCCSSSUIOkkkiQScJJKEEpBOkiQm1WRpJKEJO/oopJIkFzUkkkSCCsakkmIWya7bHf/D8P/wC/i/8Amkkl5Oi8ALsZ/qpPQ/q1dTwn2nfn/wCLkklxPK/cZ0MftQdjP2bfxt/QLJw/tRfg/wDwUkkhDJCj9mH/ALQ/RqwH+2/0d+jUklddic/tKov9S38B/wCK0nfs/wAo/ROkry/j+P8AWZkQ4X+2HqF7l2Y/0kP4f5lOktvi+5/gE/Z/ZouQkidJdSBjmDOUCmST0JP/2Q=="/>
          <p:cNvSpPr>
            <a:spLocks noChangeAspect="1" noChangeArrowheads="1"/>
          </p:cNvSpPr>
          <p:nvPr/>
        </p:nvSpPr>
        <p:spPr bwMode="auto">
          <a:xfrm>
            <a:off x="0" y="-817563"/>
            <a:ext cx="2705100" cy="1685926"/>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2" name="Rectangle 11">
            <a:hlinkClick r:id="" action="ppaction://noaction"/>
          </p:cNvPr>
          <p:cNvSpPr>
            <a:spLocks noChangeArrowheads="1"/>
          </p:cNvSpPr>
          <p:nvPr/>
        </p:nvSpPr>
        <p:spPr bwMode="auto">
          <a:xfrm>
            <a:off x="1" y="1642357"/>
            <a:ext cx="216000" cy="107950"/>
          </a:xfrm>
          <a:prstGeom prst="rect">
            <a:avLst/>
          </a:prstGeom>
          <a:solidFill>
            <a:srgbClr val="E5EAF3"/>
          </a:solidFill>
          <a:ln w="9525" algn="ctr">
            <a:noFill/>
            <a:miter lim="800000"/>
            <a:headEnd/>
            <a:tailEnd/>
          </a:ln>
          <a:effectLst/>
        </p:spPr>
        <p:txBody>
          <a:bodyPr wrap="none" anchor="ctr"/>
          <a:lstStyle/>
          <a:p>
            <a:endParaRPr lang="en-US" dirty="0"/>
          </a:p>
        </p:txBody>
      </p:sp>
      <p:sp>
        <p:nvSpPr>
          <p:cNvPr id="13" name="Rectangle 12">
            <a:hlinkClick r:id="rId11" action="ppaction://hlinksldjump"/>
          </p:cNvPr>
          <p:cNvSpPr>
            <a:spLocks noChangeArrowheads="1"/>
          </p:cNvSpPr>
          <p:nvPr/>
        </p:nvSpPr>
        <p:spPr bwMode="auto">
          <a:xfrm>
            <a:off x="1" y="1270207"/>
            <a:ext cx="216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14" name="Rectangle 13">
            <a:hlinkClick r:id="" action="ppaction://noaction"/>
          </p:cNvPr>
          <p:cNvSpPr>
            <a:spLocks noChangeArrowheads="1"/>
          </p:cNvSpPr>
          <p:nvPr/>
        </p:nvSpPr>
        <p:spPr bwMode="auto">
          <a:xfrm>
            <a:off x="1" y="1456282"/>
            <a:ext cx="216000" cy="107950"/>
          </a:xfrm>
          <a:prstGeom prst="rect">
            <a:avLst/>
          </a:prstGeom>
          <a:solidFill>
            <a:schemeClr val="accent4"/>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solidFill>
                <a:schemeClr val="bg1"/>
              </a:solidFill>
            </a:endParaRPr>
          </a:p>
        </p:txBody>
      </p:sp>
      <p:sp>
        <p:nvSpPr>
          <p:cNvPr id="15" name="Rectangle 14">
            <a:hlinkClick r:id="" action="ppaction://noaction"/>
          </p:cNvPr>
          <p:cNvSpPr>
            <a:spLocks noChangeArrowheads="1"/>
          </p:cNvSpPr>
          <p:nvPr/>
        </p:nvSpPr>
        <p:spPr bwMode="auto">
          <a:xfrm>
            <a:off x="1" y="1828432"/>
            <a:ext cx="216000" cy="107950"/>
          </a:xfrm>
          <a:prstGeom prst="rect">
            <a:avLst/>
          </a:prstGeom>
          <a:solidFill>
            <a:srgbClr val="E5EAF3"/>
          </a:solidFill>
          <a:ln w="9525" algn="ctr">
            <a:noFill/>
            <a:miter lim="800000"/>
            <a:headEnd/>
            <a:tailEnd/>
          </a:ln>
          <a:effectLst/>
        </p:spPr>
        <p:txBody>
          <a:bodyPr wrap="none" anchor="ctr"/>
          <a:lstStyle/>
          <a:p>
            <a:endParaRPr lang="en-US"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p:txBody>
          <a:bodyPr/>
          <a:lstStyle/>
          <a:p>
            <a:r>
              <a:rPr lang="en-US" smtClean="0"/>
              <a:t>Agenda</a:t>
            </a:r>
            <a:endParaRPr lang="en-US"/>
          </a:p>
        </p:txBody>
      </p:sp>
      <p:sp>
        <p:nvSpPr>
          <p:cNvPr id="24" name="Text Placeholder 23"/>
          <p:cNvSpPr>
            <a:spLocks noGrp="1"/>
          </p:cNvSpPr>
          <p:nvPr>
            <p:ph type="body" sz="quarter" idx="14"/>
          </p:nvPr>
        </p:nvSpPr>
        <p:spPr bwMode="gray"/>
        <p:txBody>
          <a:bodyPr/>
          <a:lstStyle/>
          <a:p>
            <a:endParaRPr lang="en-US"/>
          </a:p>
        </p:txBody>
      </p:sp>
      <p:sp>
        <p:nvSpPr>
          <p:cNvPr id="23" name="Text Placeholder 22"/>
          <p:cNvSpPr>
            <a:spLocks noGrp="1"/>
          </p:cNvSpPr>
          <p:nvPr>
            <p:ph type="body" sz="quarter" idx="13"/>
          </p:nvPr>
        </p:nvSpPr>
        <p:spPr bwMode="gray"/>
        <p:txBody>
          <a:bodyPr/>
          <a:lstStyle/>
          <a:p>
            <a:endParaRPr lang="en-US"/>
          </a:p>
        </p:txBody>
      </p:sp>
      <p:sp>
        <p:nvSpPr>
          <p:cNvPr id="26" name="Rectangle 25">
            <a:hlinkClick r:id="" action="ppaction://noaction"/>
          </p:cNvPr>
          <p:cNvSpPr>
            <a:spLocks noChangeArrowheads="1"/>
          </p:cNvSpPr>
          <p:nvPr>
            <p:custDataLst>
              <p:tags r:id="rId2"/>
            </p:custDataLst>
          </p:nvPr>
        </p:nvSpPr>
        <p:spPr bwMode="gray">
          <a:xfrm>
            <a:off x="1" y="1630569"/>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27" name="Rectangle 26">
            <a:hlinkClick r:id="" action="ppaction://noaction"/>
          </p:cNvPr>
          <p:cNvSpPr>
            <a:spLocks noChangeArrowheads="1"/>
          </p:cNvSpPr>
          <p:nvPr>
            <p:custDataLst>
              <p:tags r:id="rId3"/>
            </p:custDataLst>
          </p:nvPr>
        </p:nvSpPr>
        <p:spPr bwMode="gray">
          <a:xfrm>
            <a:off x="1" y="1270207"/>
            <a:ext cx="216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p>
        </p:txBody>
      </p:sp>
      <p:sp>
        <p:nvSpPr>
          <p:cNvPr id="28" name="Rectangle 27">
            <a:hlinkClick r:id="" action="ppaction://noaction"/>
          </p:cNvPr>
          <p:cNvSpPr>
            <a:spLocks noChangeArrowheads="1"/>
          </p:cNvSpPr>
          <p:nvPr>
            <p:custDataLst>
              <p:tags r:id="rId4"/>
            </p:custDataLst>
          </p:nvPr>
        </p:nvSpPr>
        <p:spPr bwMode="gray">
          <a:xfrm>
            <a:off x="1" y="1449594"/>
            <a:ext cx="216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ln>
                <a:solidFill>
                  <a:srgbClr val="E5EAF3"/>
                </a:solidFill>
              </a:ln>
            </a:endParaRPr>
          </a:p>
        </p:txBody>
      </p:sp>
      <p:sp>
        <p:nvSpPr>
          <p:cNvPr id="29" name="Rectangle 28">
            <a:hlinkClick r:id="" action="ppaction://noaction"/>
          </p:cNvPr>
          <p:cNvSpPr>
            <a:spLocks noChangeArrowheads="1"/>
          </p:cNvSpPr>
          <p:nvPr>
            <p:custDataLst>
              <p:tags r:id="rId5"/>
            </p:custDataLst>
          </p:nvPr>
        </p:nvSpPr>
        <p:spPr bwMode="gray">
          <a:xfrm>
            <a:off x="1" y="1809957"/>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30" name="Rectangle 29">
            <a:hlinkClick r:id="" action="ppaction://noaction"/>
          </p:cNvPr>
          <p:cNvSpPr>
            <a:spLocks noChangeArrowheads="1"/>
          </p:cNvSpPr>
          <p:nvPr>
            <p:custDataLst>
              <p:tags r:id="rId6"/>
            </p:custDataLst>
          </p:nvPr>
        </p:nvSpPr>
        <p:spPr bwMode="gray">
          <a:xfrm>
            <a:off x="1" y="1989344"/>
            <a:ext cx="216000" cy="107950"/>
          </a:xfrm>
          <a:prstGeom prst="rect">
            <a:avLst/>
          </a:prstGeom>
          <a:solidFill>
            <a:srgbClr val="E5EAF3"/>
          </a:solidFill>
          <a:ln w="6350" algn="ctr">
            <a:noFill/>
            <a:miter lim="800000"/>
            <a:headEnd/>
            <a:tailEnd/>
          </a:ln>
          <a:effectLst/>
        </p:spPr>
        <p:txBody>
          <a:bodyPr wrap="none" lIns="36000" tIns="36000" rIns="36000" bIns="36000" anchor="ctr"/>
          <a:lstStyle/>
          <a:p>
            <a:pPr>
              <a:spcBef>
                <a:spcPct val="0"/>
              </a:spcBef>
            </a:pPr>
            <a:endParaRPr lang="en-US" sz="1050">
              <a:latin typeface="Arial"/>
            </a:endParaRPr>
          </a:p>
        </p:txBody>
      </p:sp>
      <p:sp>
        <p:nvSpPr>
          <p:cNvPr id="31" name="Rectangle 38"/>
          <p:cNvSpPr>
            <a:spLocks noChangeArrowheads="1"/>
          </p:cNvSpPr>
          <p:nvPr/>
        </p:nvSpPr>
        <p:spPr bwMode="gray">
          <a:xfrm>
            <a:off x="1466699" y="1853613"/>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Management Summary</a:t>
            </a:r>
          </a:p>
        </p:txBody>
      </p:sp>
      <p:sp>
        <p:nvSpPr>
          <p:cNvPr id="32" name="Text Box 39"/>
          <p:cNvSpPr txBox="1">
            <a:spLocks noChangeArrowheads="1"/>
          </p:cNvSpPr>
          <p:nvPr/>
        </p:nvSpPr>
        <p:spPr bwMode="gray">
          <a:xfrm>
            <a:off x="795187" y="1853613"/>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a:t>
            </a:r>
            <a:endParaRPr lang="en-US" sz="1400" b="1" dirty="0">
              <a:solidFill>
                <a:schemeClr val="accent4"/>
              </a:solidFill>
            </a:endParaRPr>
          </a:p>
        </p:txBody>
      </p:sp>
      <p:sp>
        <p:nvSpPr>
          <p:cNvPr id="33" name="Rectangle 40"/>
          <p:cNvSpPr>
            <a:spLocks noChangeArrowheads="1"/>
          </p:cNvSpPr>
          <p:nvPr/>
        </p:nvSpPr>
        <p:spPr bwMode="gray">
          <a:xfrm>
            <a:off x="1466699" y="2437019"/>
            <a:ext cx="7638593" cy="485775"/>
          </a:xfrm>
          <a:prstGeom prst="rect">
            <a:avLst/>
          </a:prstGeom>
          <a:solidFill>
            <a:schemeClr val="accent4"/>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bg1"/>
                </a:solidFill>
              </a:rPr>
              <a:t>House Rules</a:t>
            </a:r>
          </a:p>
        </p:txBody>
      </p:sp>
      <p:sp>
        <p:nvSpPr>
          <p:cNvPr id="34" name="Text Box 41"/>
          <p:cNvSpPr txBox="1">
            <a:spLocks noChangeArrowheads="1"/>
          </p:cNvSpPr>
          <p:nvPr/>
        </p:nvSpPr>
        <p:spPr bwMode="gray">
          <a:xfrm>
            <a:off x="795187" y="2437019"/>
            <a:ext cx="600075" cy="485775"/>
          </a:xfrm>
          <a:prstGeom prst="rect">
            <a:avLst/>
          </a:prstGeom>
          <a:solidFill>
            <a:schemeClr val="accent4"/>
          </a:solidFill>
          <a:ln w="9525" algn="ctr">
            <a:noFill/>
            <a:miter lim="800000"/>
            <a:headEnd/>
            <a:tailEnd/>
          </a:ln>
        </p:spPr>
        <p:txBody>
          <a:bodyPr wrap="none" lIns="54000" tIns="54000" rIns="54000" bIns="54000" anchor="ctr"/>
          <a:lstStyle/>
          <a:p>
            <a:pPr algn="ctr"/>
            <a:r>
              <a:rPr lang="en-US" sz="1400" b="1" dirty="0" smtClean="0">
                <a:solidFill>
                  <a:schemeClr val="bg1"/>
                </a:solidFill>
              </a:rPr>
              <a:t>II</a:t>
            </a:r>
            <a:endParaRPr lang="en-US" sz="1400" b="1" dirty="0">
              <a:solidFill>
                <a:schemeClr val="bg1"/>
              </a:solidFill>
            </a:endParaRPr>
          </a:p>
        </p:txBody>
      </p:sp>
      <p:sp>
        <p:nvSpPr>
          <p:cNvPr id="36" name="Rectangle 42"/>
          <p:cNvSpPr>
            <a:spLocks noChangeArrowheads="1"/>
          </p:cNvSpPr>
          <p:nvPr/>
        </p:nvSpPr>
        <p:spPr bwMode="gray">
          <a:xfrm>
            <a:off x="1466699" y="3020427"/>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Project Structure</a:t>
            </a:r>
          </a:p>
        </p:txBody>
      </p:sp>
      <p:sp>
        <p:nvSpPr>
          <p:cNvPr id="37" name="Text Box 43"/>
          <p:cNvSpPr txBox="1">
            <a:spLocks noChangeArrowheads="1"/>
          </p:cNvSpPr>
          <p:nvPr/>
        </p:nvSpPr>
        <p:spPr bwMode="gray">
          <a:xfrm>
            <a:off x="795187" y="3020427"/>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II</a:t>
            </a:r>
            <a:endParaRPr lang="en-US" sz="1400" b="1" dirty="0">
              <a:solidFill>
                <a:schemeClr val="accent4"/>
              </a:solidFill>
            </a:endParaRPr>
          </a:p>
        </p:txBody>
      </p:sp>
      <p:sp>
        <p:nvSpPr>
          <p:cNvPr id="40" name="Rectangle 42"/>
          <p:cNvSpPr>
            <a:spLocks noChangeArrowheads="1"/>
          </p:cNvSpPr>
          <p:nvPr/>
        </p:nvSpPr>
        <p:spPr bwMode="gray">
          <a:xfrm>
            <a:off x="1466699" y="3584963"/>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smtClean="0">
                <a:solidFill>
                  <a:schemeClr val="accent4"/>
                </a:solidFill>
              </a:rPr>
              <a:t>Road Map</a:t>
            </a:r>
          </a:p>
        </p:txBody>
      </p:sp>
      <p:sp>
        <p:nvSpPr>
          <p:cNvPr id="41" name="Text Box 43"/>
          <p:cNvSpPr txBox="1">
            <a:spLocks noChangeArrowheads="1"/>
          </p:cNvSpPr>
          <p:nvPr/>
        </p:nvSpPr>
        <p:spPr bwMode="gray">
          <a:xfrm>
            <a:off x="795187" y="3584963"/>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V</a:t>
            </a:r>
            <a:endParaRPr lang="en-US" sz="1400" b="1" dirty="0">
              <a:solidFill>
                <a:schemeClr val="accent4"/>
              </a:solidFill>
            </a:endParaRPr>
          </a:p>
        </p:txBody>
      </p:sp>
      <p:sp>
        <p:nvSpPr>
          <p:cNvPr id="42" name="Rectangle 42"/>
          <p:cNvSpPr>
            <a:spLocks noChangeArrowheads="1"/>
          </p:cNvSpPr>
          <p:nvPr/>
        </p:nvSpPr>
        <p:spPr bwMode="gray">
          <a:xfrm>
            <a:off x="1466699" y="4180049"/>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Back up: Specifications</a:t>
            </a:r>
          </a:p>
        </p:txBody>
      </p:sp>
      <p:sp>
        <p:nvSpPr>
          <p:cNvPr id="43" name="Text Box 43"/>
          <p:cNvSpPr txBox="1">
            <a:spLocks noChangeArrowheads="1"/>
          </p:cNvSpPr>
          <p:nvPr/>
        </p:nvSpPr>
        <p:spPr bwMode="gray">
          <a:xfrm>
            <a:off x="795187" y="4180049"/>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V</a:t>
            </a:r>
            <a:endParaRPr lang="en-US" sz="1400" b="1" dirty="0">
              <a:solidFill>
                <a:schemeClr val="accent4"/>
              </a:solidFill>
            </a:endParaRPr>
          </a:p>
        </p:txBody>
      </p:sp>
    </p:spTree>
    <p:custDataLst>
      <p:tags r:id="rId1"/>
    </p:custDataLst>
    <p:extLst>
      <p:ext uri="{BB962C8B-B14F-4D97-AF65-F5344CB8AC3E}">
        <p14:creationId xmlns:p14="http://schemas.microsoft.com/office/powerpoint/2010/main" xmlns="" val="418556715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600" b="0" smtClean="0"/>
              <a:t>House Rules</a:t>
            </a:r>
            <a:r>
              <a:rPr lang="en-US" smtClean="0"/>
              <a:t/>
            </a:r>
            <a:br>
              <a:rPr lang="en-US" smtClean="0"/>
            </a:br>
            <a:r>
              <a:rPr lang="en-US" smtClean="0"/>
              <a:t>During the projects BEAR 2.0 and PMC 3.0 as well as for the future we will follow some fundamental rules! </a:t>
            </a:r>
            <a:endParaRPr lang="en-US"/>
          </a:p>
        </p:txBody>
      </p:sp>
      <p:sp>
        <p:nvSpPr>
          <p:cNvPr id="3" name="Text Placeholder 2"/>
          <p:cNvSpPr>
            <a:spLocks noGrp="1"/>
          </p:cNvSpPr>
          <p:nvPr>
            <p:ph type="body" sz="quarter" idx="14"/>
          </p:nvPr>
        </p:nvSpPr>
        <p:spPr/>
        <p:txBody>
          <a:bodyPr/>
          <a:lstStyle/>
          <a:p>
            <a:endParaRPr lang="en-US"/>
          </a:p>
        </p:txBody>
      </p:sp>
      <p:sp>
        <p:nvSpPr>
          <p:cNvPr id="4" name="Text Placeholder 3"/>
          <p:cNvSpPr>
            <a:spLocks noGrp="1"/>
          </p:cNvSpPr>
          <p:nvPr>
            <p:ph type="body" sz="quarter" idx="13"/>
          </p:nvPr>
        </p:nvSpPr>
        <p:spPr/>
        <p:txBody>
          <a:bodyPr/>
          <a:lstStyle/>
          <a:p>
            <a:endParaRPr lang="en-US"/>
          </a:p>
        </p:txBody>
      </p:sp>
      <p:graphicFrame>
        <p:nvGraphicFramePr>
          <p:cNvPr id="5" name="Diagram 4"/>
          <p:cNvGraphicFramePr/>
          <p:nvPr/>
        </p:nvGraphicFramePr>
        <p:xfrm>
          <a:off x="273050" y="1268412"/>
          <a:ext cx="9361488" cy="32178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nvGraphicFramePr>
        <p:xfrm>
          <a:off x="272480" y="4486276"/>
          <a:ext cx="9362057" cy="16779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p:txBody>
          <a:bodyPr/>
          <a:lstStyle/>
          <a:p>
            <a:r>
              <a:rPr lang="en-US" smtClean="0"/>
              <a:t>Agenda</a:t>
            </a:r>
            <a:endParaRPr lang="en-US"/>
          </a:p>
        </p:txBody>
      </p:sp>
      <p:sp>
        <p:nvSpPr>
          <p:cNvPr id="26" name="Rectangle 25">
            <a:hlinkClick r:id="" action="ppaction://noaction"/>
          </p:cNvPr>
          <p:cNvSpPr>
            <a:spLocks noChangeArrowheads="1"/>
          </p:cNvSpPr>
          <p:nvPr>
            <p:custDataLst>
              <p:tags r:id="rId2"/>
            </p:custDataLst>
          </p:nvPr>
        </p:nvSpPr>
        <p:spPr bwMode="gray">
          <a:xfrm>
            <a:off x="1" y="1630569"/>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27" name="Rectangle 26">
            <a:hlinkClick r:id="" action="ppaction://noaction"/>
          </p:cNvPr>
          <p:cNvSpPr>
            <a:spLocks noChangeArrowheads="1"/>
          </p:cNvSpPr>
          <p:nvPr>
            <p:custDataLst>
              <p:tags r:id="rId3"/>
            </p:custDataLst>
          </p:nvPr>
        </p:nvSpPr>
        <p:spPr bwMode="gray">
          <a:xfrm>
            <a:off x="1" y="1270207"/>
            <a:ext cx="216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p>
        </p:txBody>
      </p:sp>
      <p:sp>
        <p:nvSpPr>
          <p:cNvPr id="28" name="Rectangle 27">
            <a:hlinkClick r:id="" action="ppaction://noaction"/>
          </p:cNvPr>
          <p:cNvSpPr>
            <a:spLocks noChangeArrowheads="1"/>
          </p:cNvSpPr>
          <p:nvPr>
            <p:custDataLst>
              <p:tags r:id="rId4"/>
            </p:custDataLst>
          </p:nvPr>
        </p:nvSpPr>
        <p:spPr bwMode="gray">
          <a:xfrm>
            <a:off x="1" y="1449594"/>
            <a:ext cx="216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ln>
                <a:solidFill>
                  <a:srgbClr val="E5EAF3"/>
                </a:solidFill>
              </a:ln>
            </a:endParaRPr>
          </a:p>
        </p:txBody>
      </p:sp>
      <p:sp>
        <p:nvSpPr>
          <p:cNvPr id="29" name="Rectangle 28">
            <a:hlinkClick r:id="" action="ppaction://noaction"/>
          </p:cNvPr>
          <p:cNvSpPr>
            <a:spLocks noChangeArrowheads="1"/>
          </p:cNvSpPr>
          <p:nvPr>
            <p:custDataLst>
              <p:tags r:id="rId5"/>
            </p:custDataLst>
          </p:nvPr>
        </p:nvSpPr>
        <p:spPr bwMode="gray">
          <a:xfrm>
            <a:off x="1" y="1809957"/>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30" name="Rectangle 29">
            <a:hlinkClick r:id="" action="ppaction://noaction"/>
          </p:cNvPr>
          <p:cNvSpPr>
            <a:spLocks noChangeArrowheads="1"/>
          </p:cNvSpPr>
          <p:nvPr>
            <p:custDataLst>
              <p:tags r:id="rId6"/>
            </p:custDataLst>
          </p:nvPr>
        </p:nvSpPr>
        <p:spPr bwMode="gray">
          <a:xfrm>
            <a:off x="1" y="1989344"/>
            <a:ext cx="216000" cy="107950"/>
          </a:xfrm>
          <a:prstGeom prst="rect">
            <a:avLst/>
          </a:prstGeom>
          <a:solidFill>
            <a:srgbClr val="E5EAF3"/>
          </a:solidFill>
          <a:ln w="6350" algn="ctr">
            <a:noFill/>
            <a:miter lim="800000"/>
            <a:headEnd/>
            <a:tailEnd/>
          </a:ln>
          <a:effectLst/>
        </p:spPr>
        <p:txBody>
          <a:bodyPr wrap="none" lIns="36000" tIns="36000" rIns="36000" bIns="36000" anchor="ctr"/>
          <a:lstStyle/>
          <a:p>
            <a:pPr>
              <a:spcBef>
                <a:spcPct val="0"/>
              </a:spcBef>
            </a:pPr>
            <a:endParaRPr lang="en-US" sz="1050">
              <a:latin typeface="Arial"/>
            </a:endParaRPr>
          </a:p>
        </p:txBody>
      </p:sp>
      <p:sp>
        <p:nvSpPr>
          <p:cNvPr id="31" name="Rectangle 38"/>
          <p:cNvSpPr>
            <a:spLocks noChangeArrowheads="1"/>
          </p:cNvSpPr>
          <p:nvPr/>
        </p:nvSpPr>
        <p:spPr bwMode="gray">
          <a:xfrm>
            <a:off x="1466699" y="1853613"/>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Management Summary</a:t>
            </a:r>
          </a:p>
        </p:txBody>
      </p:sp>
      <p:sp>
        <p:nvSpPr>
          <p:cNvPr id="32" name="Text Box 39"/>
          <p:cNvSpPr txBox="1">
            <a:spLocks noChangeArrowheads="1"/>
          </p:cNvSpPr>
          <p:nvPr/>
        </p:nvSpPr>
        <p:spPr bwMode="gray">
          <a:xfrm>
            <a:off x="795187" y="1853613"/>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a:t>
            </a:r>
            <a:endParaRPr lang="en-US" sz="1400" b="1" dirty="0">
              <a:solidFill>
                <a:schemeClr val="accent4"/>
              </a:solidFill>
            </a:endParaRPr>
          </a:p>
        </p:txBody>
      </p:sp>
      <p:sp>
        <p:nvSpPr>
          <p:cNvPr id="33" name="Rectangle 40"/>
          <p:cNvSpPr>
            <a:spLocks noChangeArrowheads="1"/>
          </p:cNvSpPr>
          <p:nvPr/>
        </p:nvSpPr>
        <p:spPr bwMode="gray">
          <a:xfrm>
            <a:off x="1466699" y="2437019"/>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House Rules</a:t>
            </a:r>
          </a:p>
        </p:txBody>
      </p:sp>
      <p:sp>
        <p:nvSpPr>
          <p:cNvPr id="34" name="Text Box 41"/>
          <p:cNvSpPr txBox="1">
            <a:spLocks noChangeArrowheads="1"/>
          </p:cNvSpPr>
          <p:nvPr/>
        </p:nvSpPr>
        <p:spPr bwMode="gray">
          <a:xfrm>
            <a:off x="795187" y="2437019"/>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I</a:t>
            </a:r>
          </a:p>
        </p:txBody>
      </p:sp>
      <p:sp>
        <p:nvSpPr>
          <p:cNvPr id="36" name="Rectangle 42"/>
          <p:cNvSpPr>
            <a:spLocks noChangeArrowheads="1"/>
          </p:cNvSpPr>
          <p:nvPr/>
        </p:nvSpPr>
        <p:spPr bwMode="gray">
          <a:xfrm>
            <a:off x="1466699" y="3020427"/>
            <a:ext cx="7638593" cy="485775"/>
          </a:xfrm>
          <a:prstGeom prst="rect">
            <a:avLst/>
          </a:prstGeom>
          <a:solidFill>
            <a:schemeClr val="accent4"/>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bg1"/>
                </a:solidFill>
              </a:rPr>
              <a:t>Project Structure</a:t>
            </a:r>
          </a:p>
        </p:txBody>
      </p:sp>
      <p:sp>
        <p:nvSpPr>
          <p:cNvPr id="37" name="Text Box 43"/>
          <p:cNvSpPr txBox="1">
            <a:spLocks noChangeArrowheads="1"/>
          </p:cNvSpPr>
          <p:nvPr/>
        </p:nvSpPr>
        <p:spPr bwMode="gray">
          <a:xfrm>
            <a:off x="795187" y="3020427"/>
            <a:ext cx="600075" cy="485775"/>
          </a:xfrm>
          <a:prstGeom prst="rect">
            <a:avLst/>
          </a:prstGeom>
          <a:solidFill>
            <a:schemeClr val="accent4"/>
          </a:solidFill>
          <a:ln w="9525" algn="ctr">
            <a:noFill/>
            <a:miter lim="800000"/>
            <a:headEnd/>
            <a:tailEnd/>
          </a:ln>
        </p:spPr>
        <p:txBody>
          <a:bodyPr wrap="none" lIns="54000" tIns="54000" rIns="54000" bIns="54000" anchor="ctr"/>
          <a:lstStyle/>
          <a:p>
            <a:pPr algn="ctr"/>
            <a:r>
              <a:rPr lang="en-US" sz="1400" b="1" dirty="0" smtClean="0">
                <a:solidFill>
                  <a:schemeClr val="bg1"/>
                </a:solidFill>
              </a:rPr>
              <a:t>III</a:t>
            </a:r>
            <a:endParaRPr lang="en-US" sz="1400" b="1" dirty="0">
              <a:solidFill>
                <a:schemeClr val="bg1"/>
              </a:solidFill>
            </a:endParaRPr>
          </a:p>
        </p:txBody>
      </p:sp>
      <p:sp>
        <p:nvSpPr>
          <p:cNvPr id="40" name="Rectangle 42"/>
          <p:cNvSpPr>
            <a:spLocks noChangeArrowheads="1"/>
          </p:cNvSpPr>
          <p:nvPr/>
        </p:nvSpPr>
        <p:spPr bwMode="gray">
          <a:xfrm>
            <a:off x="1466699" y="3584963"/>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smtClean="0">
                <a:solidFill>
                  <a:schemeClr val="accent4"/>
                </a:solidFill>
              </a:rPr>
              <a:t>Road Map</a:t>
            </a:r>
          </a:p>
        </p:txBody>
      </p:sp>
      <p:sp>
        <p:nvSpPr>
          <p:cNvPr id="41" name="Text Box 43"/>
          <p:cNvSpPr txBox="1">
            <a:spLocks noChangeArrowheads="1"/>
          </p:cNvSpPr>
          <p:nvPr/>
        </p:nvSpPr>
        <p:spPr bwMode="gray">
          <a:xfrm>
            <a:off x="795187" y="3584963"/>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V</a:t>
            </a:r>
            <a:endParaRPr lang="en-US" sz="1400" b="1" dirty="0">
              <a:solidFill>
                <a:schemeClr val="accent4"/>
              </a:solidFill>
            </a:endParaRPr>
          </a:p>
        </p:txBody>
      </p:sp>
      <p:sp>
        <p:nvSpPr>
          <p:cNvPr id="42" name="Rectangle 42"/>
          <p:cNvSpPr>
            <a:spLocks noChangeArrowheads="1"/>
          </p:cNvSpPr>
          <p:nvPr/>
        </p:nvSpPr>
        <p:spPr bwMode="gray">
          <a:xfrm>
            <a:off x="1466699" y="4180049"/>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Back up: Specifications</a:t>
            </a:r>
          </a:p>
        </p:txBody>
      </p:sp>
      <p:sp>
        <p:nvSpPr>
          <p:cNvPr id="43" name="Text Box 43"/>
          <p:cNvSpPr txBox="1">
            <a:spLocks noChangeArrowheads="1"/>
          </p:cNvSpPr>
          <p:nvPr/>
        </p:nvSpPr>
        <p:spPr bwMode="gray">
          <a:xfrm>
            <a:off x="795187" y="4180049"/>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V</a:t>
            </a:r>
            <a:endParaRPr lang="en-US" sz="1400" b="1" dirty="0">
              <a:solidFill>
                <a:schemeClr val="accent4"/>
              </a:solidFill>
            </a:endParaRPr>
          </a:p>
        </p:txBody>
      </p:sp>
    </p:spTree>
    <p:custDataLst>
      <p:tags r:id="rId1"/>
    </p:custDataLst>
    <p:extLst>
      <p:ext uri="{BB962C8B-B14F-4D97-AF65-F5344CB8AC3E}">
        <p14:creationId xmlns:p14="http://schemas.microsoft.com/office/powerpoint/2010/main" xmlns="" val="418556715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1600" b="0" dirty="0" smtClean="0"/>
              <a:t>Project Organization - BEAR</a:t>
            </a:r>
            <a:r>
              <a:rPr lang="en-US" dirty="0" smtClean="0"/>
              <a:t/>
            </a:r>
            <a:br>
              <a:rPr lang="en-US" dirty="0" smtClean="0"/>
            </a:br>
            <a:r>
              <a:rPr lang="en-US" dirty="0" smtClean="0"/>
              <a:t>A </a:t>
            </a:r>
            <a:r>
              <a:rPr lang="en-US" dirty="0" smtClean="0"/>
              <a:t>clear project structure ensure clear responsibilities and an effective management.</a:t>
            </a:r>
            <a:endParaRPr lang="en-US" dirty="0"/>
          </a:p>
        </p:txBody>
      </p:sp>
      <p:sp>
        <p:nvSpPr>
          <p:cNvPr id="3" name="Textplatzhalter 2"/>
          <p:cNvSpPr>
            <a:spLocks noGrp="1"/>
          </p:cNvSpPr>
          <p:nvPr>
            <p:ph type="body" sz="quarter" idx="12"/>
          </p:nvPr>
        </p:nvSpPr>
        <p:spPr/>
        <p:txBody>
          <a:bodyPr/>
          <a:lstStyle/>
          <a:p>
            <a:endParaRPr lang="de-DE"/>
          </a:p>
        </p:txBody>
      </p:sp>
      <p:sp>
        <p:nvSpPr>
          <p:cNvPr id="4" name="Textplatzhalter 3"/>
          <p:cNvSpPr>
            <a:spLocks noGrp="1"/>
          </p:cNvSpPr>
          <p:nvPr>
            <p:ph type="body" sz="quarter" idx="13"/>
          </p:nvPr>
        </p:nvSpPr>
        <p:spPr/>
        <p:txBody>
          <a:bodyPr/>
          <a:lstStyle/>
          <a:p>
            <a:endParaRPr lang="de-DE"/>
          </a:p>
        </p:txBody>
      </p:sp>
      <p:sp>
        <p:nvSpPr>
          <p:cNvPr id="6" name="Rectangle 7"/>
          <p:cNvSpPr>
            <a:spLocks noChangeArrowheads="1"/>
          </p:cNvSpPr>
          <p:nvPr/>
        </p:nvSpPr>
        <p:spPr bwMode="auto">
          <a:xfrm>
            <a:off x="272479" y="2289183"/>
            <a:ext cx="2052000" cy="360000"/>
          </a:xfrm>
          <a:prstGeom prst="rect">
            <a:avLst/>
          </a:prstGeom>
          <a:solidFill>
            <a:srgbClr val="4066AA"/>
          </a:solidFill>
          <a:ln w="25400" algn="ctr">
            <a:noFill/>
            <a:miter lim="800000"/>
            <a:headEnd/>
            <a:tailEnd/>
          </a:ln>
          <a:effectLst/>
        </p:spPr>
        <p:txBody>
          <a:bodyPr anchor="ctr"/>
          <a:lstStyle/>
          <a:p>
            <a:pPr algn="ctr" fontAlgn="base">
              <a:spcBef>
                <a:spcPct val="30000"/>
              </a:spcBef>
              <a:spcAft>
                <a:spcPct val="0"/>
              </a:spcAft>
              <a:defRPr/>
            </a:pPr>
            <a:r>
              <a:rPr lang="en-US" sz="1000" b="1" dirty="0" smtClean="0">
                <a:solidFill>
                  <a:srgbClr val="FFFFFF"/>
                </a:solidFill>
              </a:rPr>
              <a:t>Ann-Sophie Sommer</a:t>
            </a:r>
            <a:endParaRPr lang="en-US" sz="1000" b="1" dirty="0">
              <a:solidFill>
                <a:srgbClr val="FFFFFF"/>
              </a:solidFill>
            </a:endParaRPr>
          </a:p>
        </p:txBody>
      </p:sp>
      <p:sp>
        <p:nvSpPr>
          <p:cNvPr id="7" name="Rectangle 6"/>
          <p:cNvSpPr>
            <a:spLocks noChangeArrowheads="1"/>
          </p:cNvSpPr>
          <p:nvPr/>
        </p:nvSpPr>
        <p:spPr bwMode="auto">
          <a:xfrm>
            <a:off x="3440479" y="2289183"/>
            <a:ext cx="2052000" cy="360000"/>
          </a:xfrm>
          <a:prstGeom prst="rect">
            <a:avLst/>
          </a:prstGeom>
          <a:solidFill>
            <a:srgbClr val="8099C6"/>
          </a:solidFill>
          <a:ln w="25400" algn="ctr">
            <a:noFill/>
            <a:miter lim="800000"/>
            <a:headEnd/>
            <a:tailEnd/>
          </a:ln>
          <a:effectLst/>
        </p:spPr>
        <p:txBody>
          <a:bodyPr anchor="ctr"/>
          <a:lstStyle/>
          <a:p>
            <a:pPr algn="ctr" fontAlgn="base">
              <a:lnSpc>
                <a:spcPct val="95000"/>
              </a:lnSpc>
              <a:spcBef>
                <a:spcPct val="35000"/>
              </a:spcBef>
              <a:spcAft>
                <a:spcPct val="0"/>
              </a:spcAft>
            </a:pPr>
            <a:r>
              <a:rPr lang="en-US" sz="1000" b="1" dirty="0" smtClean="0">
                <a:solidFill>
                  <a:srgbClr val="FFFFFF"/>
                </a:solidFill>
              </a:rPr>
              <a:t>Gianluca De Lorenzis</a:t>
            </a:r>
            <a:endParaRPr lang="en-US" sz="1000" b="1" dirty="0">
              <a:solidFill>
                <a:srgbClr val="FFFFFF"/>
              </a:solidFill>
            </a:endParaRPr>
          </a:p>
        </p:txBody>
      </p:sp>
      <p:cxnSp>
        <p:nvCxnSpPr>
          <p:cNvPr id="9" name="Form 8"/>
          <p:cNvCxnSpPr>
            <a:stCxn id="5" idx="2"/>
            <a:endCxn id="6" idx="0"/>
          </p:cNvCxnSpPr>
          <p:nvPr/>
        </p:nvCxnSpPr>
        <p:spPr>
          <a:xfrm rot="5400000">
            <a:off x="1992300" y="1399004"/>
            <a:ext cx="196358" cy="1584000"/>
          </a:xfrm>
          <a:prstGeom prst="bentConnector3">
            <a:avLst>
              <a:gd name="adj1" fmla="val 50000"/>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1" name="Form 8"/>
          <p:cNvCxnSpPr>
            <a:stCxn id="5" idx="2"/>
            <a:endCxn id="7" idx="0"/>
          </p:cNvCxnSpPr>
          <p:nvPr/>
        </p:nvCxnSpPr>
        <p:spPr>
          <a:xfrm rot="16200000" flipH="1">
            <a:off x="3576300" y="1399004"/>
            <a:ext cx="196358" cy="1584000"/>
          </a:xfrm>
          <a:prstGeom prst="bentConnector3">
            <a:avLst>
              <a:gd name="adj1" fmla="val 50000"/>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14" name="Rectangle 14"/>
          <p:cNvSpPr>
            <a:spLocks noChangeArrowheads="1"/>
          </p:cNvSpPr>
          <p:nvPr/>
        </p:nvSpPr>
        <p:spPr bwMode="auto">
          <a:xfrm>
            <a:off x="398479" y="3245544"/>
            <a:ext cx="1800000" cy="432000"/>
          </a:xfrm>
          <a:prstGeom prst="rect">
            <a:avLst/>
          </a:prstGeom>
          <a:solidFill>
            <a:srgbClr val="4066AA"/>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Jens </a:t>
            </a:r>
            <a:r>
              <a:rPr lang="en-US" sz="1000" b="1" dirty="0" err="1" smtClean="0">
                <a:solidFill>
                  <a:srgbClr val="FFFFFF"/>
                </a:solidFill>
              </a:rPr>
              <a:t>Briere</a:t>
            </a:r>
            <a:endParaRPr lang="en-US" sz="1000" dirty="0">
              <a:solidFill>
                <a:srgbClr val="FFFFFF"/>
              </a:solidFill>
            </a:endParaRPr>
          </a:p>
        </p:txBody>
      </p:sp>
      <p:sp>
        <p:nvSpPr>
          <p:cNvPr id="15" name="Rectangle 18"/>
          <p:cNvSpPr>
            <a:spLocks noChangeArrowheads="1"/>
          </p:cNvSpPr>
          <p:nvPr/>
        </p:nvSpPr>
        <p:spPr bwMode="auto">
          <a:xfrm>
            <a:off x="398479" y="3817997"/>
            <a:ext cx="1800000" cy="432000"/>
          </a:xfrm>
          <a:prstGeom prst="rect">
            <a:avLst/>
          </a:prstGeom>
          <a:solidFill>
            <a:srgbClr val="4066AA"/>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Marisa Ackermann</a:t>
            </a:r>
            <a:endParaRPr lang="en-US" sz="1000" dirty="0">
              <a:solidFill>
                <a:srgbClr val="FFFFFF"/>
              </a:solidFill>
            </a:endParaRPr>
          </a:p>
        </p:txBody>
      </p:sp>
      <p:sp>
        <p:nvSpPr>
          <p:cNvPr id="16" name="Rectangle 19"/>
          <p:cNvSpPr>
            <a:spLocks noChangeArrowheads="1"/>
          </p:cNvSpPr>
          <p:nvPr/>
        </p:nvSpPr>
        <p:spPr bwMode="auto">
          <a:xfrm>
            <a:off x="3566479" y="3817997"/>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17" name="Rectangle 21"/>
          <p:cNvSpPr>
            <a:spLocks noChangeArrowheads="1"/>
          </p:cNvSpPr>
          <p:nvPr/>
        </p:nvSpPr>
        <p:spPr bwMode="auto">
          <a:xfrm>
            <a:off x="3566479" y="3245544"/>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err="1" smtClean="0">
                <a:solidFill>
                  <a:srgbClr val="FFFFFF"/>
                </a:solidFill>
              </a:rPr>
              <a:t>tbd</a:t>
            </a:r>
            <a:endParaRPr lang="en-US" sz="1000" b="1" dirty="0" smtClean="0">
              <a:solidFill>
                <a:srgbClr val="FFFFFF"/>
              </a:solidFill>
            </a:endParaRPr>
          </a:p>
          <a:p>
            <a:pPr algn="ctr" fontAlgn="base">
              <a:spcBef>
                <a:spcPct val="20000"/>
              </a:spcBef>
              <a:spcAft>
                <a:spcPct val="0"/>
              </a:spcAft>
              <a:defRPr/>
            </a:pPr>
            <a:r>
              <a:rPr lang="en-US" sz="1000" b="1" dirty="0" smtClean="0">
                <a:solidFill>
                  <a:srgbClr val="FFFFFF"/>
                </a:solidFill>
              </a:rPr>
              <a:t>Project Manager</a:t>
            </a:r>
            <a:endParaRPr lang="en-US" sz="1000" dirty="0">
              <a:solidFill>
                <a:srgbClr val="FFFFFF"/>
              </a:solidFill>
            </a:endParaRPr>
          </a:p>
        </p:txBody>
      </p:sp>
      <p:sp>
        <p:nvSpPr>
          <p:cNvPr id="19" name="Rectangle 21"/>
          <p:cNvSpPr>
            <a:spLocks noChangeArrowheads="1"/>
          </p:cNvSpPr>
          <p:nvPr/>
        </p:nvSpPr>
        <p:spPr bwMode="auto">
          <a:xfrm>
            <a:off x="3566479" y="4390450"/>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21" name="Rectangle 21"/>
          <p:cNvSpPr>
            <a:spLocks noChangeArrowheads="1"/>
          </p:cNvSpPr>
          <p:nvPr/>
        </p:nvSpPr>
        <p:spPr bwMode="auto">
          <a:xfrm>
            <a:off x="3566479" y="4962903"/>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23" name="Rectangle 21"/>
          <p:cNvSpPr>
            <a:spLocks noChangeArrowheads="1"/>
          </p:cNvSpPr>
          <p:nvPr/>
        </p:nvSpPr>
        <p:spPr bwMode="auto">
          <a:xfrm>
            <a:off x="3566479" y="5535357"/>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25" name="Rectangle 3"/>
          <p:cNvSpPr>
            <a:spLocks noChangeArrowheads="1"/>
          </p:cNvSpPr>
          <p:nvPr/>
        </p:nvSpPr>
        <p:spPr bwMode="auto">
          <a:xfrm>
            <a:off x="6393160" y="1268759"/>
            <a:ext cx="3240360" cy="4896544"/>
          </a:xfrm>
          <a:prstGeom prst="rect">
            <a:avLst/>
          </a:prstGeom>
          <a:solidFill>
            <a:schemeClr val="bg1">
              <a:lumMod val="75000"/>
            </a:schemeClr>
          </a:solidFill>
          <a:ln w="25400" algn="ctr">
            <a:noFill/>
            <a:miter lim="800000"/>
            <a:headEnd/>
            <a:tailEnd/>
          </a:ln>
          <a:effectLst/>
        </p:spPr>
        <p:txBody>
          <a:bodyPr anchor="t"/>
          <a:lstStyle/>
          <a:p>
            <a:pPr algn="ctr" fontAlgn="base">
              <a:spcBef>
                <a:spcPct val="0"/>
              </a:spcBef>
              <a:spcAft>
                <a:spcPct val="0"/>
              </a:spcAft>
              <a:defRPr/>
            </a:pPr>
            <a:r>
              <a:rPr lang="en-US" sz="1000" b="1" dirty="0" smtClean="0">
                <a:solidFill>
                  <a:schemeClr val="bg1">
                    <a:lumMod val="50000"/>
                  </a:schemeClr>
                </a:solidFill>
              </a:rPr>
              <a:t>Team  Roles</a:t>
            </a:r>
            <a:endParaRPr lang="en-US" sz="1000" b="1" dirty="0">
              <a:solidFill>
                <a:schemeClr val="bg1">
                  <a:lumMod val="50000"/>
                </a:schemeClr>
              </a:solidFill>
            </a:endParaRPr>
          </a:p>
        </p:txBody>
      </p:sp>
      <p:grpSp>
        <p:nvGrpSpPr>
          <p:cNvPr id="8" name="Group 37"/>
          <p:cNvGrpSpPr/>
          <p:nvPr/>
        </p:nvGrpSpPr>
        <p:grpSpPr>
          <a:xfrm>
            <a:off x="6554577" y="3126718"/>
            <a:ext cx="2917526" cy="1367999"/>
            <a:chOff x="6689262" y="3269470"/>
            <a:chExt cx="2917526" cy="1367999"/>
          </a:xfrm>
        </p:grpSpPr>
        <p:sp>
          <p:nvSpPr>
            <p:cNvPr id="32" name="Rectangle 28"/>
            <p:cNvSpPr>
              <a:spLocks noChangeArrowheads="1"/>
            </p:cNvSpPr>
            <p:nvPr/>
          </p:nvSpPr>
          <p:spPr bwMode="auto">
            <a:xfrm>
              <a:off x="6689262" y="3629469"/>
              <a:ext cx="2917526" cy="1008000"/>
            </a:xfrm>
            <a:prstGeom prst="rect">
              <a:avLst/>
            </a:prstGeom>
            <a:solidFill>
              <a:srgbClr val="E5EAF3"/>
            </a:solidFill>
            <a:ln w="25400" algn="ctr">
              <a:noFill/>
              <a:miter lim="800000"/>
              <a:headEnd/>
              <a:tailEnd/>
            </a:ln>
            <a:effectLst/>
          </p:spPr>
          <p:txBody>
            <a:bodyPr anchor="ctr"/>
            <a:lstStyle/>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nsures clear specification and requirement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Interface between all KPMG functions with external Service Provider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1</a:t>
              </a:r>
              <a:r>
                <a:rPr lang="en-US" sz="1000" baseline="30000" dirty="0" smtClean="0">
                  <a:cs typeface="Arial" pitchFamily="34" charset="0"/>
                </a:rPr>
                <a:t>st</a:t>
              </a:r>
              <a:r>
                <a:rPr lang="en-US" sz="1000" dirty="0" smtClean="0">
                  <a:cs typeface="Arial" pitchFamily="34" charset="0"/>
                </a:rPr>
                <a:t> level support and 1</a:t>
              </a:r>
              <a:r>
                <a:rPr lang="en-US" sz="1000" baseline="30000" dirty="0" smtClean="0">
                  <a:cs typeface="Arial" pitchFamily="34" charset="0"/>
                </a:rPr>
                <a:t>st</a:t>
              </a:r>
              <a:r>
                <a:rPr lang="en-US" sz="1000" dirty="0" smtClean="0">
                  <a:cs typeface="Arial" pitchFamily="34" charset="0"/>
                </a:rPr>
                <a:t> test instance</a:t>
              </a:r>
              <a:endParaRPr lang="en-US" sz="1000" dirty="0">
                <a:cs typeface="Arial" pitchFamily="34" charset="0"/>
              </a:endParaRPr>
            </a:p>
          </p:txBody>
        </p:sp>
        <p:sp>
          <p:nvSpPr>
            <p:cNvPr id="33" name="Rectangle 29"/>
            <p:cNvSpPr>
              <a:spLocks noChangeArrowheads="1"/>
            </p:cNvSpPr>
            <p:nvPr/>
          </p:nvSpPr>
          <p:spPr bwMode="auto">
            <a:xfrm>
              <a:off x="6689262" y="3269470"/>
              <a:ext cx="2917526" cy="360000"/>
            </a:xfrm>
            <a:prstGeom prst="rect">
              <a:avLst/>
            </a:prstGeom>
            <a:solidFill>
              <a:schemeClr val="bg1">
                <a:lumMod val="50000"/>
              </a:schemeClr>
            </a:solidFill>
            <a:ln w="25400" algn="ctr">
              <a:noFill/>
              <a:miter lim="800000"/>
              <a:headEnd/>
              <a:tailEnd/>
            </a:ln>
            <a:effectLst/>
          </p:spPr>
          <p:txBody>
            <a:bodyPr anchor="ctr"/>
            <a:lstStyle/>
            <a:p>
              <a:pPr algn="ctr" fontAlgn="base">
                <a:spcBef>
                  <a:spcPct val="30000"/>
                </a:spcBef>
                <a:spcAft>
                  <a:spcPct val="0"/>
                </a:spcAft>
              </a:pPr>
              <a:r>
                <a:rPr lang="en-US" sz="1000" b="1" dirty="0" smtClean="0">
                  <a:solidFill>
                    <a:schemeClr val="bg1"/>
                  </a:solidFill>
                </a:rPr>
                <a:t>KPMG Team</a:t>
              </a:r>
              <a:endParaRPr lang="en-US" sz="1000" b="1" dirty="0">
                <a:solidFill>
                  <a:schemeClr val="bg1"/>
                </a:solidFill>
              </a:endParaRPr>
            </a:p>
          </p:txBody>
        </p:sp>
      </p:grpSp>
      <p:grpSp>
        <p:nvGrpSpPr>
          <p:cNvPr id="10" name="Group 36"/>
          <p:cNvGrpSpPr/>
          <p:nvPr/>
        </p:nvGrpSpPr>
        <p:grpSpPr>
          <a:xfrm>
            <a:off x="6554577" y="4652541"/>
            <a:ext cx="2917526" cy="1368000"/>
            <a:chOff x="6689262" y="4781801"/>
            <a:chExt cx="2917526" cy="1368000"/>
          </a:xfrm>
        </p:grpSpPr>
        <p:sp>
          <p:nvSpPr>
            <p:cNvPr id="30" name="Rectangle 29"/>
            <p:cNvSpPr>
              <a:spLocks noChangeArrowheads="1"/>
            </p:cNvSpPr>
            <p:nvPr/>
          </p:nvSpPr>
          <p:spPr bwMode="auto">
            <a:xfrm>
              <a:off x="6689262" y="4781801"/>
              <a:ext cx="2917526" cy="360000"/>
            </a:xfrm>
            <a:prstGeom prst="rect">
              <a:avLst/>
            </a:prstGeom>
            <a:solidFill>
              <a:schemeClr val="bg1">
                <a:lumMod val="50000"/>
              </a:schemeClr>
            </a:solidFill>
            <a:ln w="25400" algn="ctr">
              <a:noFill/>
              <a:miter lim="800000"/>
              <a:headEnd/>
              <a:tailEnd/>
            </a:ln>
            <a:effectLst/>
          </p:spPr>
          <p:txBody>
            <a:bodyPr anchor="ctr"/>
            <a:lstStyle/>
            <a:p>
              <a:pPr algn="ctr" fontAlgn="base">
                <a:spcBef>
                  <a:spcPct val="30000"/>
                </a:spcBef>
                <a:spcAft>
                  <a:spcPct val="0"/>
                </a:spcAft>
              </a:pPr>
              <a:r>
                <a:rPr lang="en-US" sz="1000" b="1" dirty="0" smtClean="0">
                  <a:solidFill>
                    <a:schemeClr val="bg1"/>
                  </a:solidFill>
                </a:rPr>
                <a:t>Service Provider Team</a:t>
              </a:r>
              <a:endParaRPr lang="en-US" sz="1000" b="1" dirty="0">
                <a:solidFill>
                  <a:schemeClr val="bg1"/>
                </a:solidFill>
              </a:endParaRPr>
            </a:p>
          </p:txBody>
        </p:sp>
        <p:sp>
          <p:nvSpPr>
            <p:cNvPr id="31" name="Rectangle 28"/>
            <p:cNvSpPr>
              <a:spLocks noChangeArrowheads="1"/>
            </p:cNvSpPr>
            <p:nvPr/>
          </p:nvSpPr>
          <p:spPr bwMode="auto">
            <a:xfrm>
              <a:off x="6689262" y="5141801"/>
              <a:ext cx="2917526" cy="1008000"/>
            </a:xfrm>
            <a:prstGeom prst="rect">
              <a:avLst/>
            </a:prstGeom>
            <a:solidFill>
              <a:srgbClr val="E5EAF3"/>
            </a:solidFill>
            <a:ln w="25400" algn="ctr">
              <a:noFill/>
              <a:miter lim="800000"/>
              <a:headEnd/>
              <a:tailEnd/>
            </a:ln>
            <a:effectLst/>
          </p:spPr>
          <p:txBody>
            <a:bodyPr anchor="ctr"/>
            <a:lstStyle/>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Responsible for project delivery</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Development of technology</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nsure understanding of all requirements and specification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Provides enough resources</a:t>
              </a:r>
              <a:endParaRPr lang="en-US" sz="1000" dirty="0">
                <a:cs typeface="Arial" pitchFamily="34" charset="0"/>
              </a:endParaRPr>
            </a:p>
          </p:txBody>
        </p:sp>
      </p:grpSp>
      <p:grpSp>
        <p:nvGrpSpPr>
          <p:cNvPr id="12" name="Group 37"/>
          <p:cNvGrpSpPr/>
          <p:nvPr/>
        </p:nvGrpSpPr>
        <p:grpSpPr>
          <a:xfrm>
            <a:off x="6554577" y="1600895"/>
            <a:ext cx="2917526" cy="1367999"/>
            <a:chOff x="6689262" y="3269470"/>
            <a:chExt cx="2917526" cy="1367999"/>
          </a:xfrm>
        </p:grpSpPr>
        <p:sp>
          <p:nvSpPr>
            <p:cNvPr id="37" name="Rectangle 28"/>
            <p:cNvSpPr>
              <a:spLocks noChangeArrowheads="1"/>
            </p:cNvSpPr>
            <p:nvPr/>
          </p:nvSpPr>
          <p:spPr bwMode="auto">
            <a:xfrm>
              <a:off x="6689262" y="3629469"/>
              <a:ext cx="2917526" cy="1008000"/>
            </a:xfrm>
            <a:prstGeom prst="rect">
              <a:avLst/>
            </a:prstGeom>
            <a:solidFill>
              <a:srgbClr val="E5EAF3"/>
            </a:solidFill>
            <a:ln w="25400" algn="ctr">
              <a:noFill/>
              <a:miter lim="800000"/>
              <a:headEnd/>
              <a:tailEnd/>
            </a:ln>
            <a:effectLst/>
          </p:spPr>
          <p:txBody>
            <a:bodyPr anchor="ctr"/>
            <a:lstStyle/>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Release of Gate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Approval of progres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nsure compliance of house rule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scalation path for the teams</a:t>
              </a:r>
              <a:endParaRPr lang="en-US" sz="1000" dirty="0">
                <a:cs typeface="Arial" pitchFamily="34" charset="0"/>
              </a:endParaRPr>
            </a:p>
          </p:txBody>
        </p:sp>
        <p:sp>
          <p:nvSpPr>
            <p:cNvPr id="38" name="Rectangle 29"/>
            <p:cNvSpPr>
              <a:spLocks noChangeArrowheads="1"/>
            </p:cNvSpPr>
            <p:nvPr/>
          </p:nvSpPr>
          <p:spPr bwMode="auto">
            <a:xfrm>
              <a:off x="6689262" y="3269470"/>
              <a:ext cx="2917526" cy="360000"/>
            </a:xfrm>
            <a:prstGeom prst="rect">
              <a:avLst/>
            </a:prstGeom>
            <a:solidFill>
              <a:schemeClr val="bg1">
                <a:lumMod val="50000"/>
              </a:schemeClr>
            </a:solidFill>
            <a:ln w="25400" algn="ctr">
              <a:noFill/>
              <a:miter lim="800000"/>
              <a:headEnd/>
              <a:tailEnd/>
            </a:ln>
            <a:effectLst/>
          </p:spPr>
          <p:txBody>
            <a:bodyPr anchor="ctr"/>
            <a:lstStyle/>
            <a:p>
              <a:pPr algn="ctr" fontAlgn="base">
                <a:spcBef>
                  <a:spcPct val="30000"/>
                </a:spcBef>
                <a:spcAft>
                  <a:spcPct val="0"/>
                </a:spcAft>
              </a:pPr>
              <a:r>
                <a:rPr lang="en-US" sz="1000" b="1" dirty="0" smtClean="0">
                  <a:solidFill>
                    <a:schemeClr val="bg1"/>
                  </a:solidFill>
                </a:rPr>
                <a:t>Steering Committee</a:t>
              </a:r>
              <a:endParaRPr lang="en-US" sz="1000" b="1" dirty="0">
                <a:solidFill>
                  <a:schemeClr val="bg1"/>
                </a:solidFill>
              </a:endParaRPr>
            </a:p>
          </p:txBody>
        </p:sp>
      </p:grpSp>
      <p:cxnSp>
        <p:nvCxnSpPr>
          <p:cNvPr id="46" name="Gerade Verbindung 45"/>
          <p:cNvCxnSpPr>
            <a:stCxn id="6" idx="2"/>
            <a:endCxn id="14" idx="0"/>
          </p:cNvCxnSpPr>
          <p:nvPr/>
        </p:nvCxnSpPr>
        <p:spPr>
          <a:xfrm>
            <a:off x="1298479" y="2649183"/>
            <a:ext cx="0" cy="596361"/>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a:stCxn id="14" idx="2"/>
            <a:endCxn id="15" idx="0"/>
          </p:cNvCxnSpPr>
          <p:nvPr/>
        </p:nvCxnSpPr>
        <p:spPr>
          <a:xfrm>
            <a:off x="1298479" y="3677544"/>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21" idx="2"/>
            <a:endCxn id="23" idx="0"/>
          </p:cNvCxnSpPr>
          <p:nvPr/>
        </p:nvCxnSpPr>
        <p:spPr>
          <a:xfrm>
            <a:off x="4466479" y="5394903"/>
            <a:ext cx="0" cy="140454"/>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19" idx="2"/>
            <a:endCxn id="21" idx="0"/>
          </p:cNvCxnSpPr>
          <p:nvPr/>
        </p:nvCxnSpPr>
        <p:spPr>
          <a:xfrm>
            <a:off x="4466479" y="4822450"/>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17" idx="2"/>
            <a:endCxn id="16" idx="0"/>
          </p:cNvCxnSpPr>
          <p:nvPr/>
        </p:nvCxnSpPr>
        <p:spPr>
          <a:xfrm>
            <a:off x="4466479" y="3677544"/>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a:stCxn id="16" idx="2"/>
            <a:endCxn id="19" idx="0"/>
          </p:cNvCxnSpPr>
          <p:nvPr/>
        </p:nvCxnSpPr>
        <p:spPr>
          <a:xfrm>
            <a:off x="4466479" y="4249997"/>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77" name="AutoShape 25"/>
          <p:cNvSpPr>
            <a:spLocks noChangeArrowheads="1"/>
          </p:cNvSpPr>
          <p:nvPr/>
        </p:nvSpPr>
        <p:spPr bwMode="auto">
          <a:xfrm>
            <a:off x="5563498" y="4449747"/>
            <a:ext cx="743559" cy="527261"/>
          </a:xfrm>
          <a:prstGeom prst="leftRightArrow">
            <a:avLst>
              <a:gd name="adj1" fmla="val 50000"/>
              <a:gd name="adj2" fmla="val 34228"/>
            </a:avLst>
          </a:prstGeom>
          <a:solidFill>
            <a:srgbClr val="97989A"/>
          </a:solidFill>
          <a:ln w="12700">
            <a:noFill/>
            <a:miter lim="800000"/>
            <a:headEnd/>
            <a:tailEnd/>
          </a:ln>
          <a:effectLst/>
        </p:spPr>
        <p:txBody>
          <a:bodyPr wrap="none" anchor="ctr"/>
          <a:lstStyle/>
          <a:p>
            <a:pPr fontAlgn="base">
              <a:spcBef>
                <a:spcPct val="0"/>
              </a:spcBef>
              <a:spcAft>
                <a:spcPct val="0"/>
              </a:spcAft>
            </a:pPr>
            <a:endParaRPr lang="en-US" sz="1400" dirty="0">
              <a:solidFill>
                <a:srgbClr val="FFFFFF"/>
              </a:solidFill>
            </a:endParaRPr>
          </a:p>
        </p:txBody>
      </p:sp>
      <p:grpSp>
        <p:nvGrpSpPr>
          <p:cNvPr id="13" name="Gruppieren 79"/>
          <p:cNvGrpSpPr/>
          <p:nvPr/>
        </p:nvGrpSpPr>
        <p:grpSpPr>
          <a:xfrm>
            <a:off x="-550" y="1267200"/>
            <a:ext cx="180550" cy="1004350"/>
            <a:chOff x="-550" y="1260000"/>
            <a:chExt cx="180550" cy="1004350"/>
          </a:xfrm>
        </p:grpSpPr>
        <p:sp>
          <p:nvSpPr>
            <p:cNvPr id="81" name="Rectangle 10">
              <a:hlinkClick r:id="" action="ppaction://noaction"/>
            </p:cNvPr>
            <p:cNvSpPr>
              <a:spLocks noChangeArrowheads="1"/>
            </p:cNvSpPr>
            <p:nvPr/>
          </p:nvSpPr>
          <p:spPr bwMode="auto">
            <a:xfrm>
              <a:off x="0" y="1622080"/>
              <a:ext cx="180000" cy="107950"/>
            </a:xfrm>
            <a:prstGeom prst="rect">
              <a:avLst/>
            </a:prstGeom>
            <a:solidFill>
              <a:srgbClr val="E5EAF3"/>
            </a:solidFill>
            <a:ln w="9525" algn="ctr">
              <a:noFill/>
              <a:miter lim="800000"/>
              <a:headEnd/>
              <a:tailEnd/>
            </a:ln>
            <a:effectLst/>
          </p:spPr>
          <p:txBody>
            <a:bodyPr wrap="none" anchor="ctr"/>
            <a:lstStyle/>
            <a:p>
              <a:endParaRPr lang="en-US" dirty="0"/>
            </a:p>
          </p:txBody>
        </p:sp>
        <p:sp>
          <p:nvSpPr>
            <p:cNvPr id="82" name="Rectangle 11">
              <a:hlinkClick r:id="" action="ppaction://noaction"/>
            </p:cNvPr>
            <p:cNvSpPr>
              <a:spLocks noChangeArrowheads="1"/>
            </p:cNvSpPr>
            <p:nvPr/>
          </p:nvSpPr>
          <p:spPr bwMode="auto">
            <a:xfrm>
              <a:off x="0" y="12600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3" name="Rectangle 20">
              <a:hlinkClick r:id="" action="ppaction://noaction"/>
            </p:cNvPr>
            <p:cNvSpPr>
              <a:spLocks noChangeArrowheads="1"/>
            </p:cNvSpPr>
            <p:nvPr/>
          </p:nvSpPr>
          <p:spPr bwMode="auto">
            <a:xfrm>
              <a:off x="0" y="144104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4" name="Rectangle 11">
              <a:hlinkClick r:id="" action="ppaction://noaction"/>
            </p:cNvPr>
            <p:cNvSpPr>
              <a:spLocks noChangeArrowheads="1"/>
            </p:cNvSpPr>
            <p:nvPr/>
          </p:nvSpPr>
          <p:spPr bwMode="auto">
            <a:xfrm>
              <a:off x="-550" y="1796635"/>
              <a:ext cx="180000" cy="107950"/>
            </a:xfrm>
            <a:prstGeom prst="rect">
              <a:avLst/>
            </a:prstGeom>
            <a:solidFill>
              <a:srgbClr val="E5EAF3"/>
            </a:solidFill>
            <a:ln w="9525" algn="ctr">
              <a:noFill/>
              <a:miter lim="800000"/>
              <a:headEnd/>
              <a:tailEnd/>
            </a:ln>
            <a:effectLst/>
          </p:spPr>
          <p:txBody>
            <a:bodyPr wrap="none" anchor="ctr"/>
            <a:lstStyle/>
            <a:p>
              <a:pPr>
                <a:lnSpc>
                  <a:spcPts val="2000"/>
                </a:lnSpc>
              </a:pPr>
              <a:endParaRPr lang="en-US" dirty="0" smtClean="0"/>
            </a:p>
          </p:txBody>
        </p:sp>
        <p:sp>
          <p:nvSpPr>
            <p:cNvPr id="85" name="Rectangle 20">
              <a:hlinkClick r:id="" action="ppaction://noaction"/>
            </p:cNvPr>
            <p:cNvSpPr>
              <a:spLocks noChangeArrowheads="1"/>
            </p:cNvSpPr>
            <p:nvPr/>
          </p:nvSpPr>
          <p:spPr bwMode="auto">
            <a:xfrm>
              <a:off x="-550" y="1977675"/>
              <a:ext cx="180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6" name="Rectangle 20">
              <a:hlinkClick r:id="" action="ppaction://noaction"/>
            </p:cNvPr>
            <p:cNvSpPr>
              <a:spLocks noChangeArrowheads="1"/>
            </p:cNvSpPr>
            <p:nvPr/>
          </p:nvSpPr>
          <p:spPr bwMode="auto">
            <a:xfrm>
              <a:off x="-550" y="21564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grpSp>
      <p:sp>
        <p:nvSpPr>
          <p:cNvPr id="5" name="Rectangle 3"/>
          <p:cNvSpPr>
            <a:spLocks noChangeArrowheads="1"/>
          </p:cNvSpPr>
          <p:nvPr/>
        </p:nvSpPr>
        <p:spPr bwMode="auto">
          <a:xfrm>
            <a:off x="272479" y="1267200"/>
            <a:ext cx="5220000" cy="825625"/>
          </a:xfrm>
          <a:prstGeom prst="rect">
            <a:avLst/>
          </a:prstGeom>
          <a:solidFill>
            <a:schemeClr val="accent4"/>
          </a:solidFill>
          <a:ln w="25400" algn="ctr">
            <a:noFill/>
            <a:miter lim="800000"/>
            <a:headEnd/>
            <a:tailEnd/>
          </a:ln>
          <a:effectLst/>
        </p:spPr>
        <p:txBody>
          <a:bodyPr tIns="36000" anchor="t"/>
          <a:lstStyle/>
          <a:p>
            <a:pPr algn="ctr" fontAlgn="base">
              <a:spcBef>
                <a:spcPct val="0"/>
              </a:spcBef>
              <a:spcAft>
                <a:spcPct val="0"/>
              </a:spcAft>
              <a:defRPr/>
            </a:pPr>
            <a:r>
              <a:rPr lang="en-US" sz="1000" b="1" dirty="0" smtClean="0">
                <a:solidFill>
                  <a:srgbClr val="FFFFFF"/>
                </a:solidFill>
              </a:rPr>
              <a:t>Steering Committee</a:t>
            </a:r>
          </a:p>
          <a:p>
            <a:pPr algn="ctr" fontAlgn="base">
              <a:spcBef>
                <a:spcPct val="0"/>
              </a:spcBef>
              <a:spcAft>
                <a:spcPct val="0"/>
              </a:spcAft>
              <a:defRPr/>
            </a:pPr>
            <a:endParaRPr lang="en-US" sz="1000" b="1" dirty="0" smtClean="0">
              <a:solidFill>
                <a:srgbClr val="FFFFFF"/>
              </a:solidFill>
            </a:endParaRPr>
          </a:p>
          <a:p>
            <a:pPr algn="ctr" fontAlgn="base">
              <a:spcBef>
                <a:spcPct val="0"/>
              </a:spcBef>
              <a:spcAft>
                <a:spcPct val="0"/>
              </a:spcAft>
              <a:defRPr/>
            </a:pPr>
            <a:endParaRPr lang="en-US" sz="1000" b="1" dirty="0">
              <a:solidFill>
                <a:srgbClr val="FFFFFF"/>
              </a:solidFill>
            </a:endParaRPr>
          </a:p>
        </p:txBody>
      </p:sp>
      <p:sp>
        <p:nvSpPr>
          <p:cNvPr id="54" name="Rechteck 53"/>
          <p:cNvSpPr/>
          <p:nvPr/>
        </p:nvSpPr>
        <p:spPr bwMode="auto">
          <a:xfrm>
            <a:off x="299864" y="1484101"/>
            <a:ext cx="5148000" cy="564336"/>
          </a:xfrm>
          <a:prstGeom prst="rect">
            <a:avLst/>
          </a:prstGeom>
          <a:solidFill>
            <a:schemeClr val="bg1"/>
          </a:solidFill>
          <a:ln w="9525" algn="ctr">
            <a:noFill/>
            <a:miter lim="800000"/>
            <a:headEnd/>
            <a:tailEnd/>
          </a:ln>
          <a:effectLst/>
        </p:spPr>
        <p:txBody>
          <a:bodyPr wrap="square" rtlCol="0" anchor="ctr">
            <a:normAutofit fontScale="77500" lnSpcReduction="20000"/>
          </a:bodyPr>
          <a:lstStyle/>
          <a:p>
            <a:pPr algn="ctr" fontAlgn="base">
              <a:lnSpc>
                <a:spcPts val="2000"/>
              </a:lnSpc>
              <a:spcBef>
                <a:spcPct val="0"/>
              </a:spcBef>
              <a:spcAft>
                <a:spcPct val="0"/>
              </a:spcAft>
            </a:pPr>
            <a:r>
              <a:rPr lang="de-DE" dirty="0" smtClean="0"/>
              <a:t>Jan Herrmann, Michael Münnich, Jens </a:t>
            </a:r>
            <a:r>
              <a:rPr lang="de-DE" dirty="0" smtClean="0"/>
              <a:t>Behre, Simon Mann</a:t>
            </a:r>
            <a:endParaRPr lang="de-DE" dirty="0" smtClean="0"/>
          </a:p>
        </p:txBody>
      </p:sp>
      <p:cxnSp>
        <p:nvCxnSpPr>
          <p:cNvPr id="55" name="Gerade Verbindung 60"/>
          <p:cNvCxnSpPr>
            <a:stCxn id="7" idx="2"/>
            <a:endCxn id="17" idx="0"/>
          </p:cNvCxnSpPr>
          <p:nvPr/>
        </p:nvCxnSpPr>
        <p:spPr>
          <a:xfrm>
            <a:off x="4466479" y="2649183"/>
            <a:ext cx="0" cy="596361"/>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63" name="Rectangle 18"/>
          <p:cNvSpPr>
            <a:spLocks noChangeArrowheads="1"/>
          </p:cNvSpPr>
          <p:nvPr/>
        </p:nvSpPr>
        <p:spPr bwMode="auto">
          <a:xfrm>
            <a:off x="398479" y="4390450"/>
            <a:ext cx="1800000" cy="432000"/>
          </a:xfrm>
          <a:prstGeom prst="rect">
            <a:avLst/>
          </a:prstGeom>
          <a:solidFill>
            <a:srgbClr val="4066AA"/>
          </a:solidFill>
          <a:ln w="25400" algn="ctr">
            <a:noFill/>
            <a:miter lim="800000"/>
            <a:headEnd/>
            <a:tailEnd/>
          </a:ln>
          <a:effectLst/>
        </p:spPr>
        <p:txBody>
          <a:bodyPr anchor="ctr"/>
          <a:lstStyle/>
          <a:p>
            <a:pPr algn="ctr" fontAlgn="base">
              <a:spcBef>
                <a:spcPct val="20000"/>
              </a:spcBef>
              <a:spcAft>
                <a:spcPct val="0"/>
              </a:spcAft>
              <a:defRPr/>
            </a:pPr>
            <a:r>
              <a:rPr lang="en-US" sz="1000" b="1" dirty="0" err="1" smtClean="0">
                <a:solidFill>
                  <a:srgbClr val="FFFFFF"/>
                </a:solidFill>
              </a:rPr>
              <a:t>Tbd</a:t>
            </a:r>
            <a:r>
              <a:rPr lang="en-US" sz="1000" b="1" dirty="0" smtClean="0">
                <a:solidFill>
                  <a:srgbClr val="FFFFFF"/>
                </a:solidFill>
              </a:rPr>
              <a:t> (ONE)</a:t>
            </a:r>
            <a:endParaRPr lang="en-US" sz="1000" dirty="0">
              <a:solidFill>
                <a:srgbClr val="FFFFFF"/>
              </a:solidFill>
            </a:endParaRPr>
          </a:p>
        </p:txBody>
      </p:sp>
      <p:sp>
        <p:nvSpPr>
          <p:cNvPr id="65" name="AutoShape 25"/>
          <p:cNvSpPr>
            <a:spLocks noChangeArrowheads="1"/>
          </p:cNvSpPr>
          <p:nvPr/>
        </p:nvSpPr>
        <p:spPr bwMode="auto">
          <a:xfrm>
            <a:off x="5563498" y="2005376"/>
            <a:ext cx="743559" cy="527261"/>
          </a:xfrm>
          <a:prstGeom prst="leftRightArrow">
            <a:avLst>
              <a:gd name="adj1" fmla="val 50000"/>
              <a:gd name="adj2" fmla="val 34228"/>
            </a:avLst>
          </a:prstGeom>
          <a:solidFill>
            <a:srgbClr val="97989A"/>
          </a:solidFill>
          <a:ln w="12700">
            <a:noFill/>
            <a:miter lim="800000"/>
            <a:headEnd/>
            <a:tailEnd/>
          </a:ln>
          <a:effectLst/>
        </p:spPr>
        <p:txBody>
          <a:bodyPr wrap="none" anchor="ctr"/>
          <a:lstStyle/>
          <a:p>
            <a:pPr fontAlgn="base">
              <a:spcBef>
                <a:spcPct val="0"/>
              </a:spcBef>
              <a:spcAft>
                <a:spcPct val="0"/>
              </a:spcAft>
            </a:pPr>
            <a:endParaRPr lang="en-US" sz="1400" dirty="0">
              <a:solidFill>
                <a:srgbClr val="FFFFFF"/>
              </a:solidFill>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1600" b="0" dirty="0" smtClean="0"/>
              <a:t>Project Organization - PMC</a:t>
            </a:r>
            <a:r>
              <a:rPr lang="en-US" dirty="0" smtClean="0"/>
              <a:t/>
            </a:r>
            <a:br>
              <a:rPr lang="en-US" dirty="0" smtClean="0"/>
            </a:br>
            <a:r>
              <a:rPr lang="en-US" dirty="0" smtClean="0"/>
              <a:t>A clear project structure ensure clear responsibilities and an effective management.</a:t>
            </a:r>
            <a:endParaRPr lang="en-US" dirty="0"/>
          </a:p>
        </p:txBody>
      </p:sp>
      <p:sp>
        <p:nvSpPr>
          <p:cNvPr id="3" name="Textplatzhalter 2"/>
          <p:cNvSpPr>
            <a:spLocks noGrp="1"/>
          </p:cNvSpPr>
          <p:nvPr>
            <p:ph type="body" sz="quarter" idx="12"/>
          </p:nvPr>
        </p:nvSpPr>
        <p:spPr/>
        <p:txBody>
          <a:bodyPr/>
          <a:lstStyle/>
          <a:p>
            <a:endParaRPr lang="de-DE"/>
          </a:p>
        </p:txBody>
      </p:sp>
      <p:sp>
        <p:nvSpPr>
          <p:cNvPr id="4" name="Textplatzhalter 3"/>
          <p:cNvSpPr>
            <a:spLocks noGrp="1"/>
          </p:cNvSpPr>
          <p:nvPr>
            <p:ph type="body" sz="quarter" idx="13"/>
          </p:nvPr>
        </p:nvSpPr>
        <p:spPr/>
        <p:txBody>
          <a:bodyPr/>
          <a:lstStyle/>
          <a:p>
            <a:endParaRPr lang="de-DE"/>
          </a:p>
        </p:txBody>
      </p:sp>
      <p:sp>
        <p:nvSpPr>
          <p:cNvPr id="6" name="Rectangle 7"/>
          <p:cNvSpPr>
            <a:spLocks noChangeArrowheads="1"/>
          </p:cNvSpPr>
          <p:nvPr/>
        </p:nvSpPr>
        <p:spPr bwMode="auto">
          <a:xfrm>
            <a:off x="272479" y="2289183"/>
            <a:ext cx="2052000" cy="360000"/>
          </a:xfrm>
          <a:prstGeom prst="rect">
            <a:avLst/>
          </a:prstGeom>
          <a:solidFill>
            <a:srgbClr val="4066AA"/>
          </a:solidFill>
          <a:ln w="25400" algn="ctr">
            <a:noFill/>
            <a:miter lim="800000"/>
            <a:headEnd/>
            <a:tailEnd/>
          </a:ln>
          <a:effectLst/>
        </p:spPr>
        <p:txBody>
          <a:bodyPr anchor="ctr"/>
          <a:lstStyle/>
          <a:p>
            <a:pPr algn="ctr" fontAlgn="base">
              <a:spcBef>
                <a:spcPct val="30000"/>
              </a:spcBef>
              <a:spcAft>
                <a:spcPct val="0"/>
              </a:spcAft>
              <a:defRPr/>
            </a:pPr>
            <a:r>
              <a:rPr lang="en-US" sz="1000" b="1" dirty="0" smtClean="0">
                <a:solidFill>
                  <a:srgbClr val="FFFFFF"/>
                </a:solidFill>
              </a:rPr>
              <a:t>Daniel Heinzler</a:t>
            </a:r>
            <a:endParaRPr lang="en-US" sz="1000" b="1" dirty="0">
              <a:solidFill>
                <a:srgbClr val="FFFFFF"/>
              </a:solidFill>
            </a:endParaRPr>
          </a:p>
        </p:txBody>
      </p:sp>
      <p:sp>
        <p:nvSpPr>
          <p:cNvPr id="7" name="Rectangle 6"/>
          <p:cNvSpPr>
            <a:spLocks noChangeArrowheads="1"/>
          </p:cNvSpPr>
          <p:nvPr/>
        </p:nvSpPr>
        <p:spPr bwMode="auto">
          <a:xfrm>
            <a:off x="3440479" y="2289183"/>
            <a:ext cx="2052000" cy="360000"/>
          </a:xfrm>
          <a:prstGeom prst="rect">
            <a:avLst/>
          </a:prstGeom>
          <a:solidFill>
            <a:srgbClr val="8099C6"/>
          </a:solidFill>
          <a:ln w="25400" algn="ctr">
            <a:noFill/>
            <a:miter lim="800000"/>
            <a:headEnd/>
            <a:tailEnd/>
          </a:ln>
          <a:effectLst/>
        </p:spPr>
        <p:txBody>
          <a:bodyPr anchor="ctr"/>
          <a:lstStyle/>
          <a:p>
            <a:pPr algn="ctr" fontAlgn="base">
              <a:lnSpc>
                <a:spcPct val="95000"/>
              </a:lnSpc>
              <a:spcBef>
                <a:spcPct val="35000"/>
              </a:spcBef>
              <a:spcAft>
                <a:spcPct val="0"/>
              </a:spcAft>
            </a:pPr>
            <a:r>
              <a:rPr lang="en-US" sz="1000" b="1" dirty="0" smtClean="0">
                <a:solidFill>
                  <a:srgbClr val="FFFFFF"/>
                </a:solidFill>
              </a:rPr>
              <a:t>Procurence</a:t>
            </a:r>
            <a:endParaRPr lang="en-US" sz="1000" b="1" dirty="0">
              <a:solidFill>
                <a:srgbClr val="FFFFFF"/>
              </a:solidFill>
            </a:endParaRPr>
          </a:p>
        </p:txBody>
      </p:sp>
      <p:cxnSp>
        <p:nvCxnSpPr>
          <p:cNvPr id="9" name="Form 8"/>
          <p:cNvCxnSpPr>
            <a:stCxn id="5" idx="2"/>
            <a:endCxn id="6" idx="0"/>
          </p:cNvCxnSpPr>
          <p:nvPr/>
        </p:nvCxnSpPr>
        <p:spPr>
          <a:xfrm rot="5400000">
            <a:off x="1992300" y="1399004"/>
            <a:ext cx="196358" cy="1584000"/>
          </a:xfrm>
          <a:prstGeom prst="bentConnector3">
            <a:avLst>
              <a:gd name="adj1" fmla="val 50000"/>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1" name="Form 8"/>
          <p:cNvCxnSpPr>
            <a:stCxn id="5" idx="2"/>
            <a:endCxn id="7" idx="0"/>
          </p:cNvCxnSpPr>
          <p:nvPr/>
        </p:nvCxnSpPr>
        <p:spPr>
          <a:xfrm rot="16200000" flipH="1">
            <a:off x="3576300" y="1399004"/>
            <a:ext cx="196358" cy="1584000"/>
          </a:xfrm>
          <a:prstGeom prst="bentConnector3">
            <a:avLst>
              <a:gd name="adj1" fmla="val 50000"/>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14" name="Rectangle 14"/>
          <p:cNvSpPr>
            <a:spLocks noChangeArrowheads="1"/>
          </p:cNvSpPr>
          <p:nvPr/>
        </p:nvSpPr>
        <p:spPr bwMode="auto">
          <a:xfrm>
            <a:off x="398479" y="3245544"/>
            <a:ext cx="1800000" cy="432000"/>
          </a:xfrm>
          <a:prstGeom prst="rect">
            <a:avLst/>
          </a:prstGeom>
          <a:solidFill>
            <a:srgbClr val="4066AA"/>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Arnaud Antoine</a:t>
            </a:r>
            <a:endParaRPr lang="en-US" sz="1000" dirty="0">
              <a:solidFill>
                <a:srgbClr val="FFFFFF"/>
              </a:solidFill>
            </a:endParaRPr>
          </a:p>
        </p:txBody>
      </p:sp>
      <p:sp>
        <p:nvSpPr>
          <p:cNvPr id="16" name="Rectangle 19"/>
          <p:cNvSpPr>
            <a:spLocks noChangeArrowheads="1"/>
          </p:cNvSpPr>
          <p:nvPr/>
        </p:nvSpPr>
        <p:spPr bwMode="auto">
          <a:xfrm>
            <a:off x="3566479" y="3817997"/>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17" name="Rectangle 21"/>
          <p:cNvSpPr>
            <a:spLocks noChangeArrowheads="1"/>
          </p:cNvSpPr>
          <p:nvPr/>
        </p:nvSpPr>
        <p:spPr bwMode="auto">
          <a:xfrm>
            <a:off x="3566479" y="3245544"/>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Maciej </a:t>
            </a:r>
            <a:r>
              <a:rPr lang="en-US" sz="1000" b="1" dirty="0" err="1" smtClean="0">
                <a:solidFill>
                  <a:srgbClr val="FFFFFF"/>
                </a:solidFill>
              </a:rPr>
              <a:t>Marczewski</a:t>
            </a:r>
            <a:endParaRPr lang="en-US" sz="1000" b="1" dirty="0" smtClean="0">
              <a:solidFill>
                <a:srgbClr val="FFFFFF"/>
              </a:solidFill>
            </a:endParaRPr>
          </a:p>
          <a:p>
            <a:pPr algn="ctr" fontAlgn="base">
              <a:spcBef>
                <a:spcPct val="20000"/>
              </a:spcBef>
              <a:spcAft>
                <a:spcPct val="0"/>
              </a:spcAft>
              <a:defRPr/>
            </a:pPr>
            <a:r>
              <a:rPr lang="en-US" sz="1000" b="1" dirty="0" smtClean="0">
                <a:solidFill>
                  <a:srgbClr val="FFFFFF"/>
                </a:solidFill>
              </a:rPr>
              <a:t>Project Manager</a:t>
            </a:r>
            <a:endParaRPr lang="en-US" sz="1000" b="1" dirty="0">
              <a:solidFill>
                <a:srgbClr val="FFFFFF"/>
              </a:solidFill>
            </a:endParaRPr>
          </a:p>
        </p:txBody>
      </p:sp>
      <p:sp>
        <p:nvSpPr>
          <p:cNvPr id="19" name="Rectangle 21"/>
          <p:cNvSpPr>
            <a:spLocks noChangeArrowheads="1"/>
          </p:cNvSpPr>
          <p:nvPr/>
        </p:nvSpPr>
        <p:spPr bwMode="auto">
          <a:xfrm>
            <a:off x="3566479" y="4390450"/>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21" name="Rectangle 21"/>
          <p:cNvSpPr>
            <a:spLocks noChangeArrowheads="1"/>
          </p:cNvSpPr>
          <p:nvPr/>
        </p:nvSpPr>
        <p:spPr bwMode="auto">
          <a:xfrm>
            <a:off x="3566479" y="4962903"/>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23" name="Rectangle 21"/>
          <p:cNvSpPr>
            <a:spLocks noChangeArrowheads="1"/>
          </p:cNvSpPr>
          <p:nvPr/>
        </p:nvSpPr>
        <p:spPr bwMode="auto">
          <a:xfrm>
            <a:off x="3566479" y="5535357"/>
            <a:ext cx="1800000" cy="432000"/>
          </a:xfrm>
          <a:prstGeom prst="rect">
            <a:avLst/>
          </a:prstGeom>
          <a:solidFill>
            <a:srgbClr val="8099C6"/>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lt;NAME / ROLE&gt;</a:t>
            </a:r>
            <a:endParaRPr lang="en-US" sz="1000" dirty="0">
              <a:solidFill>
                <a:srgbClr val="FFFFFF"/>
              </a:solidFill>
            </a:endParaRPr>
          </a:p>
        </p:txBody>
      </p:sp>
      <p:sp>
        <p:nvSpPr>
          <p:cNvPr id="25" name="Rectangle 3"/>
          <p:cNvSpPr>
            <a:spLocks noChangeArrowheads="1"/>
          </p:cNvSpPr>
          <p:nvPr/>
        </p:nvSpPr>
        <p:spPr bwMode="auto">
          <a:xfrm>
            <a:off x="6393160" y="1268759"/>
            <a:ext cx="3240360" cy="4896544"/>
          </a:xfrm>
          <a:prstGeom prst="rect">
            <a:avLst/>
          </a:prstGeom>
          <a:solidFill>
            <a:schemeClr val="bg1">
              <a:lumMod val="75000"/>
            </a:schemeClr>
          </a:solidFill>
          <a:ln w="25400" algn="ctr">
            <a:noFill/>
            <a:miter lim="800000"/>
            <a:headEnd/>
            <a:tailEnd/>
          </a:ln>
          <a:effectLst/>
        </p:spPr>
        <p:txBody>
          <a:bodyPr anchor="t"/>
          <a:lstStyle/>
          <a:p>
            <a:pPr algn="ctr" fontAlgn="base">
              <a:spcBef>
                <a:spcPct val="0"/>
              </a:spcBef>
              <a:spcAft>
                <a:spcPct val="0"/>
              </a:spcAft>
              <a:defRPr/>
            </a:pPr>
            <a:r>
              <a:rPr lang="en-US" sz="1000" b="1" dirty="0">
                <a:solidFill>
                  <a:schemeClr val="bg1">
                    <a:lumMod val="50000"/>
                  </a:schemeClr>
                </a:solidFill>
              </a:rPr>
              <a:t>KPMG </a:t>
            </a:r>
            <a:r>
              <a:rPr lang="en-US" sz="1000" b="1" dirty="0" smtClean="0">
                <a:solidFill>
                  <a:schemeClr val="bg1">
                    <a:lumMod val="50000"/>
                  </a:schemeClr>
                </a:solidFill>
              </a:rPr>
              <a:t>Team  Roles</a:t>
            </a:r>
            <a:endParaRPr lang="en-US" sz="1000" b="1" dirty="0">
              <a:solidFill>
                <a:schemeClr val="bg1">
                  <a:lumMod val="50000"/>
                </a:schemeClr>
              </a:solidFill>
            </a:endParaRPr>
          </a:p>
        </p:txBody>
      </p:sp>
      <p:grpSp>
        <p:nvGrpSpPr>
          <p:cNvPr id="8" name="Group 37"/>
          <p:cNvGrpSpPr/>
          <p:nvPr/>
        </p:nvGrpSpPr>
        <p:grpSpPr>
          <a:xfrm>
            <a:off x="6554577" y="3126718"/>
            <a:ext cx="2917526" cy="1367999"/>
            <a:chOff x="6689262" y="3269470"/>
            <a:chExt cx="2917526" cy="1367999"/>
          </a:xfrm>
        </p:grpSpPr>
        <p:sp>
          <p:nvSpPr>
            <p:cNvPr id="32" name="Rectangle 28"/>
            <p:cNvSpPr>
              <a:spLocks noChangeArrowheads="1"/>
            </p:cNvSpPr>
            <p:nvPr/>
          </p:nvSpPr>
          <p:spPr bwMode="auto">
            <a:xfrm>
              <a:off x="6689262" y="3629469"/>
              <a:ext cx="2917526" cy="1008000"/>
            </a:xfrm>
            <a:prstGeom prst="rect">
              <a:avLst/>
            </a:prstGeom>
            <a:solidFill>
              <a:srgbClr val="E5EAF3"/>
            </a:solidFill>
            <a:ln w="25400" algn="ctr">
              <a:noFill/>
              <a:miter lim="800000"/>
              <a:headEnd/>
              <a:tailEnd/>
            </a:ln>
            <a:effectLst/>
          </p:spPr>
          <p:txBody>
            <a:bodyPr anchor="ctr"/>
            <a:lstStyle/>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nsures clear specification and requirement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Interface between all KPMG functions with external Service Provider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1</a:t>
              </a:r>
              <a:r>
                <a:rPr lang="en-US" sz="1000" baseline="30000" dirty="0" smtClean="0">
                  <a:cs typeface="Arial" pitchFamily="34" charset="0"/>
                </a:rPr>
                <a:t>st</a:t>
              </a:r>
              <a:r>
                <a:rPr lang="en-US" sz="1000" dirty="0" smtClean="0">
                  <a:cs typeface="Arial" pitchFamily="34" charset="0"/>
                </a:rPr>
                <a:t> level support and 1</a:t>
              </a:r>
              <a:r>
                <a:rPr lang="en-US" sz="1000" baseline="30000" dirty="0" smtClean="0">
                  <a:cs typeface="Arial" pitchFamily="34" charset="0"/>
                </a:rPr>
                <a:t>st</a:t>
              </a:r>
              <a:r>
                <a:rPr lang="en-US" sz="1000" dirty="0" smtClean="0">
                  <a:cs typeface="Arial" pitchFamily="34" charset="0"/>
                </a:rPr>
                <a:t> test instance</a:t>
              </a:r>
              <a:endParaRPr lang="en-US" sz="1000" dirty="0">
                <a:cs typeface="Arial" pitchFamily="34" charset="0"/>
              </a:endParaRPr>
            </a:p>
          </p:txBody>
        </p:sp>
        <p:sp>
          <p:nvSpPr>
            <p:cNvPr id="33" name="Rectangle 29"/>
            <p:cNvSpPr>
              <a:spLocks noChangeArrowheads="1"/>
            </p:cNvSpPr>
            <p:nvPr/>
          </p:nvSpPr>
          <p:spPr bwMode="auto">
            <a:xfrm>
              <a:off x="6689262" y="3269470"/>
              <a:ext cx="2917526" cy="360000"/>
            </a:xfrm>
            <a:prstGeom prst="rect">
              <a:avLst/>
            </a:prstGeom>
            <a:solidFill>
              <a:schemeClr val="bg1">
                <a:lumMod val="50000"/>
              </a:schemeClr>
            </a:solidFill>
            <a:ln w="25400" algn="ctr">
              <a:noFill/>
              <a:miter lim="800000"/>
              <a:headEnd/>
              <a:tailEnd/>
            </a:ln>
            <a:effectLst/>
          </p:spPr>
          <p:txBody>
            <a:bodyPr anchor="ctr"/>
            <a:lstStyle/>
            <a:p>
              <a:pPr algn="ctr" fontAlgn="base">
                <a:spcBef>
                  <a:spcPct val="30000"/>
                </a:spcBef>
                <a:spcAft>
                  <a:spcPct val="0"/>
                </a:spcAft>
              </a:pPr>
              <a:r>
                <a:rPr lang="en-US" sz="1000" b="1" dirty="0">
                  <a:solidFill>
                    <a:schemeClr val="bg1"/>
                  </a:solidFill>
                </a:rPr>
                <a:t>KPMG </a:t>
              </a:r>
              <a:r>
                <a:rPr lang="en-US" sz="1000" b="1" dirty="0" smtClean="0">
                  <a:solidFill>
                    <a:schemeClr val="bg1"/>
                  </a:solidFill>
                </a:rPr>
                <a:t>&lt;ROLE&gt;</a:t>
              </a:r>
              <a:endParaRPr lang="en-US" sz="1000" b="1" dirty="0">
                <a:solidFill>
                  <a:schemeClr val="bg1"/>
                </a:solidFill>
              </a:endParaRPr>
            </a:p>
          </p:txBody>
        </p:sp>
      </p:grpSp>
      <p:grpSp>
        <p:nvGrpSpPr>
          <p:cNvPr id="10" name="Group 36"/>
          <p:cNvGrpSpPr/>
          <p:nvPr/>
        </p:nvGrpSpPr>
        <p:grpSpPr>
          <a:xfrm>
            <a:off x="6554577" y="4652541"/>
            <a:ext cx="2917526" cy="1368000"/>
            <a:chOff x="6689262" y="4781801"/>
            <a:chExt cx="2917526" cy="1368000"/>
          </a:xfrm>
        </p:grpSpPr>
        <p:sp>
          <p:nvSpPr>
            <p:cNvPr id="30" name="Rectangle 29"/>
            <p:cNvSpPr>
              <a:spLocks noChangeArrowheads="1"/>
            </p:cNvSpPr>
            <p:nvPr/>
          </p:nvSpPr>
          <p:spPr bwMode="auto">
            <a:xfrm>
              <a:off x="6689262" y="4781801"/>
              <a:ext cx="2917526" cy="360000"/>
            </a:xfrm>
            <a:prstGeom prst="rect">
              <a:avLst/>
            </a:prstGeom>
            <a:solidFill>
              <a:schemeClr val="bg1">
                <a:lumMod val="50000"/>
              </a:schemeClr>
            </a:solidFill>
            <a:ln w="25400" algn="ctr">
              <a:noFill/>
              <a:miter lim="800000"/>
              <a:headEnd/>
              <a:tailEnd/>
            </a:ln>
            <a:effectLst/>
          </p:spPr>
          <p:txBody>
            <a:bodyPr anchor="ctr"/>
            <a:lstStyle/>
            <a:p>
              <a:pPr algn="ctr" fontAlgn="base">
                <a:spcBef>
                  <a:spcPct val="30000"/>
                </a:spcBef>
                <a:spcAft>
                  <a:spcPct val="0"/>
                </a:spcAft>
              </a:pPr>
              <a:r>
                <a:rPr lang="en-US" sz="1000" b="1" dirty="0">
                  <a:solidFill>
                    <a:schemeClr val="bg1"/>
                  </a:solidFill>
                </a:rPr>
                <a:t>KPMG </a:t>
              </a:r>
              <a:r>
                <a:rPr lang="en-US" sz="1000" b="1" dirty="0" smtClean="0">
                  <a:solidFill>
                    <a:schemeClr val="bg1"/>
                  </a:solidFill>
                </a:rPr>
                <a:t>&lt;ROLE TITLE&gt;</a:t>
              </a:r>
              <a:endParaRPr lang="en-US" sz="1000" b="1" dirty="0">
                <a:solidFill>
                  <a:schemeClr val="bg1"/>
                </a:solidFill>
              </a:endParaRPr>
            </a:p>
          </p:txBody>
        </p:sp>
        <p:sp>
          <p:nvSpPr>
            <p:cNvPr id="31" name="Rectangle 28"/>
            <p:cNvSpPr>
              <a:spLocks noChangeArrowheads="1"/>
            </p:cNvSpPr>
            <p:nvPr/>
          </p:nvSpPr>
          <p:spPr bwMode="auto">
            <a:xfrm>
              <a:off x="6689262" y="5141801"/>
              <a:ext cx="2917526" cy="1008000"/>
            </a:xfrm>
            <a:prstGeom prst="rect">
              <a:avLst/>
            </a:prstGeom>
            <a:solidFill>
              <a:srgbClr val="E5EAF3"/>
            </a:solidFill>
            <a:ln w="25400" algn="ctr">
              <a:noFill/>
              <a:miter lim="800000"/>
              <a:headEnd/>
              <a:tailEnd/>
            </a:ln>
            <a:effectLst/>
          </p:spPr>
          <p:txBody>
            <a:bodyPr anchor="ctr"/>
            <a:lstStyle/>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Responsible for project delivery</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Development of technology</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nsure understanding of all requirements and specification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Provides enough resources</a:t>
              </a:r>
              <a:endParaRPr lang="en-US" sz="1000" dirty="0">
                <a:cs typeface="Arial" pitchFamily="34" charset="0"/>
              </a:endParaRPr>
            </a:p>
          </p:txBody>
        </p:sp>
      </p:grpSp>
      <p:grpSp>
        <p:nvGrpSpPr>
          <p:cNvPr id="12" name="Group 37"/>
          <p:cNvGrpSpPr/>
          <p:nvPr/>
        </p:nvGrpSpPr>
        <p:grpSpPr>
          <a:xfrm>
            <a:off x="6554577" y="1600895"/>
            <a:ext cx="2917526" cy="1367999"/>
            <a:chOff x="6689262" y="3269470"/>
            <a:chExt cx="2917526" cy="1367999"/>
          </a:xfrm>
        </p:grpSpPr>
        <p:sp>
          <p:nvSpPr>
            <p:cNvPr id="37" name="Rectangle 28"/>
            <p:cNvSpPr>
              <a:spLocks noChangeArrowheads="1"/>
            </p:cNvSpPr>
            <p:nvPr/>
          </p:nvSpPr>
          <p:spPr bwMode="auto">
            <a:xfrm>
              <a:off x="6689262" y="3629469"/>
              <a:ext cx="2917526" cy="1008000"/>
            </a:xfrm>
            <a:prstGeom prst="rect">
              <a:avLst/>
            </a:prstGeom>
            <a:solidFill>
              <a:srgbClr val="E5EAF3"/>
            </a:solidFill>
            <a:ln w="25400" algn="ctr">
              <a:noFill/>
              <a:miter lim="800000"/>
              <a:headEnd/>
              <a:tailEnd/>
            </a:ln>
            <a:effectLst/>
          </p:spPr>
          <p:txBody>
            <a:bodyPr anchor="ctr"/>
            <a:lstStyle/>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Release of Gate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Approval of progres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nsure compliance of house rules</a:t>
              </a:r>
            </a:p>
            <a:p>
              <a:pPr marL="176400" lvl="2" indent="-176400" fontAlgn="base">
                <a:lnSpc>
                  <a:spcPct val="95000"/>
                </a:lnSpc>
                <a:spcBef>
                  <a:spcPts val="300"/>
                </a:spcBef>
                <a:spcAft>
                  <a:spcPct val="0"/>
                </a:spcAft>
                <a:buClr>
                  <a:srgbClr val="97989A"/>
                </a:buClr>
                <a:buFont typeface="Arial" pitchFamily="34" charset="0"/>
                <a:buChar char="■"/>
                <a:defRPr/>
              </a:pPr>
              <a:r>
                <a:rPr lang="en-US" sz="1000" dirty="0" smtClean="0">
                  <a:cs typeface="Arial" pitchFamily="34" charset="0"/>
                </a:rPr>
                <a:t>Escalation path for the teams</a:t>
              </a:r>
              <a:endParaRPr lang="en-US" sz="1000" dirty="0">
                <a:cs typeface="Arial" pitchFamily="34" charset="0"/>
              </a:endParaRPr>
            </a:p>
          </p:txBody>
        </p:sp>
        <p:sp>
          <p:nvSpPr>
            <p:cNvPr id="38" name="Rectangle 29"/>
            <p:cNvSpPr>
              <a:spLocks noChangeArrowheads="1"/>
            </p:cNvSpPr>
            <p:nvPr/>
          </p:nvSpPr>
          <p:spPr bwMode="auto">
            <a:xfrm>
              <a:off x="6689262" y="3269470"/>
              <a:ext cx="2917526" cy="360000"/>
            </a:xfrm>
            <a:prstGeom prst="rect">
              <a:avLst/>
            </a:prstGeom>
            <a:solidFill>
              <a:schemeClr val="bg1">
                <a:lumMod val="50000"/>
              </a:schemeClr>
            </a:solidFill>
            <a:ln w="25400" algn="ctr">
              <a:noFill/>
              <a:miter lim="800000"/>
              <a:headEnd/>
              <a:tailEnd/>
            </a:ln>
            <a:effectLst/>
          </p:spPr>
          <p:txBody>
            <a:bodyPr anchor="ctr"/>
            <a:lstStyle/>
            <a:p>
              <a:pPr algn="ctr" fontAlgn="base">
                <a:spcBef>
                  <a:spcPct val="30000"/>
                </a:spcBef>
                <a:spcAft>
                  <a:spcPct val="0"/>
                </a:spcAft>
              </a:pPr>
              <a:r>
                <a:rPr lang="en-US" sz="1000" b="1" dirty="0" smtClean="0">
                  <a:solidFill>
                    <a:schemeClr val="bg1"/>
                  </a:solidFill>
                </a:rPr>
                <a:t>KPMG Delivery Lead</a:t>
              </a:r>
              <a:endParaRPr lang="en-US" sz="1000" b="1" dirty="0">
                <a:solidFill>
                  <a:schemeClr val="bg1"/>
                </a:solidFill>
              </a:endParaRPr>
            </a:p>
          </p:txBody>
        </p:sp>
      </p:grpSp>
      <p:cxnSp>
        <p:nvCxnSpPr>
          <p:cNvPr id="46" name="Gerade Verbindung 45"/>
          <p:cNvCxnSpPr>
            <a:stCxn id="6" idx="2"/>
            <a:endCxn id="14" idx="0"/>
          </p:cNvCxnSpPr>
          <p:nvPr/>
        </p:nvCxnSpPr>
        <p:spPr>
          <a:xfrm>
            <a:off x="1298479" y="2649183"/>
            <a:ext cx="0" cy="596361"/>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a:stCxn id="14" idx="2"/>
          </p:cNvCxnSpPr>
          <p:nvPr/>
        </p:nvCxnSpPr>
        <p:spPr>
          <a:xfrm>
            <a:off x="1298479" y="3677544"/>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21" idx="2"/>
            <a:endCxn id="23" idx="0"/>
          </p:cNvCxnSpPr>
          <p:nvPr/>
        </p:nvCxnSpPr>
        <p:spPr>
          <a:xfrm>
            <a:off x="4466479" y="5394903"/>
            <a:ext cx="0" cy="140454"/>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19" idx="2"/>
            <a:endCxn id="21" idx="0"/>
          </p:cNvCxnSpPr>
          <p:nvPr/>
        </p:nvCxnSpPr>
        <p:spPr>
          <a:xfrm>
            <a:off x="4466479" y="4822450"/>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17" idx="2"/>
            <a:endCxn id="16" idx="0"/>
          </p:cNvCxnSpPr>
          <p:nvPr/>
        </p:nvCxnSpPr>
        <p:spPr>
          <a:xfrm>
            <a:off x="4466479" y="3677544"/>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a:stCxn id="16" idx="2"/>
            <a:endCxn id="19" idx="0"/>
          </p:cNvCxnSpPr>
          <p:nvPr/>
        </p:nvCxnSpPr>
        <p:spPr>
          <a:xfrm>
            <a:off x="4466479" y="4249997"/>
            <a:ext cx="0" cy="140453"/>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77" name="AutoShape 25"/>
          <p:cNvSpPr>
            <a:spLocks noChangeArrowheads="1"/>
          </p:cNvSpPr>
          <p:nvPr/>
        </p:nvSpPr>
        <p:spPr bwMode="auto">
          <a:xfrm>
            <a:off x="5563498" y="4449747"/>
            <a:ext cx="743559" cy="527261"/>
          </a:xfrm>
          <a:prstGeom prst="leftRightArrow">
            <a:avLst>
              <a:gd name="adj1" fmla="val 50000"/>
              <a:gd name="adj2" fmla="val 34228"/>
            </a:avLst>
          </a:prstGeom>
          <a:solidFill>
            <a:srgbClr val="97989A"/>
          </a:solidFill>
          <a:ln w="12700">
            <a:noFill/>
            <a:miter lim="800000"/>
            <a:headEnd/>
            <a:tailEnd/>
          </a:ln>
          <a:effectLst/>
        </p:spPr>
        <p:txBody>
          <a:bodyPr wrap="none" anchor="ctr"/>
          <a:lstStyle/>
          <a:p>
            <a:pPr fontAlgn="base">
              <a:spcBef>
                <a:spcPct val="0"/>
              </a:spcBef>
              <a:spcAft>
                <a:spcPct val="0"/>
              </a:spcAft>
            </a:pPr>
            <a:endParaRPr lang="en-US" sz="1400" dirty="0">
              <a:solidFill>
                <a:srgbClr val="FFFFFF"/>
              </a:solidFill>
            </a:endParaRPr>
          </a:p>
        </p:txBody>
      </p:sp>
      <p:sp>
        <p:nvSpPr>
          <p:cNvPr id="78" name="AutoShape 25"/>
          <p:cNvSpPr>
            <a:spLocks noChangeArrowheads="1"/>
          </p:cNvSpPr>
          <p:nvPr/>
        </p:nvSpPr>
        <p:spPr bwMode="auto">
          <a:xfrm>
            <a:off x="5563498" y="2005376"/>
            <a:ext cx="743559" cy="527261"/>
          </a:xfrm>
          <a:prstGeom prst="leftRightArrow">
            <a:avLst>
              <a:gd name="adj1" fmla="val 50000"/>
              <a:gd name="adj2" fmla="val 34228"/>
            </a:avLst>
          </a:prstGeom>
          <a:solidFill>
            <a:srgbClr val="97989A"/>
          </a:solidFill>
          <a:ln w="12700">
            <a:noFill/>
            <a:miter lim="800000"/>
            <a:headEnd/>
            <a:tailEnd/>
          </a:ln>
          <a:effectLst/>
        </p:spPr>
        <p:txBody>
          <a:bodyPr wrap="none" anchor="ctr"/>
          <a:lstStyle/>
          <a:p>
            <a:pPr fontAlgn="base">
              <a:spcBef>
                <a:spcPct val="0"/>
              </a:spcBef>
              <a:spcAft>
                <a:spcPct val="0"/>
              </a:spcAft>
            </a:pPr>
            <a:endParaRPr lang="en-US" sz="1400" dirty="0">
              <a:solidFill>
                <a:srgbClr val="FFFFFF"/>
              </a:solidFill>
            </a:endParaRPr>
          </a:p>
        </p:txBody>
      </p:sp>
      <p:grpSp>
        <p:nvGrpSpPr>
          <p:cNvPr id="13" name="Gruppieren 79"/>
          <p:cNvGrpSpPr/>
          <p:nvPr/>
        </p:nvGrpSpPr>
        <p:grpSpPr>
          <a:xfrm>
            <a:off x="-550" y="1267200"/>
            <a:ext cx="180550" cy="1004350"/>
            <a:chOff x="-550" y="1260000"/>
            <a:chExt cx="180550" cy="1004350"/>
          </a:xfrm>
        </p:grpSpPr>
        <p:sp>
          <p:nvSpPr>
            <p:cNvPr id="81" name="Rectangle 10">
              <a:hlinkClick r:id="" action="ppaction://noaction"/>
            </p:cNvPr>
            <p:cNvSpPr>
              <a:spLocks noChangeArrowheads="1"/>
            </p:cNvSpPr>
            <p:nvPr/>
          </p:nvSpPr>
          <p:spPr bwMode="auto">
            <a:xfrm>
              <a:off x="0" y="1622080"/>
              <a:ext cx="180000" cy="107950"/>
            </a:xfrm>
            <a:prstGeom prst="rect">
              <a:avLst/>
            </a:prstGeom>
            <a:solidFill>
              <a:srgbClr val="E5EAF3"/>
            </a:solidFill>
            <a:ln w="9525" algn="ctr">
              <a:noFill/>
              <a:miter lim="800000"/>
              <a:headEnd/>
              <a:tailEnd/>
            </a:ln>
            <a:effectLst/>
          </p:spPr>
          <p:txBody>
            <a:bodyPr wrap="none" anchor="ctr"/>
            <a:lstStyle/>
            <a:p>
              <a:endParaRPr lang="en-US" dirty="0"/>
            </a:p>
          </p:txBody>
        </p:sp>
        <p:sp>
          <p:nvSpPr>
            <p:cNvPr id="82" name="Rectangle 11">
              <a:hlinkClick r:id="" action="ppaction://noaction"/>
            </p:cNvPr>
            <p:cNvSpPr>
              <a:spLocks noChangeArrowheads="1"/>
            </p:cNvSpPr>
            <p:nvPr/>
          </p:nvSpPr>
          <p:spPr bwMode="auto">
            <a:xfrm>
              <a:off x="0" y="12600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3" name="Rectangle 20">
              <a:hlinkClick r:id="" action="ppaction://noaction"/>
            </p:cNvPr>
            <p:cNvSpPr>
              <a:spLocks noChangeArrowheads="1"/>
            </p:cNvSpPr>
            <p:nvPr/>
          </p:nvSpPr>
          <p:spPr bwMode="auto">
            <a:xfrm>
              <a:off x="0" y="144104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4" name="Rectangle 11">
              <a:hlinkClick r:id="" action="ppaction://noaction"/>
            </p:cNvPr>
            <p:cNvSpPr>
              <a:spLocks noChangeArrowheads="1"/>
            </p:cNvSpPr>
            <p:nvPr/>
          </p:nvSpPr>
          <p:spPr bwMode="auto">
            <a:xfrm>
              <a:off x="-550" y="1796635"/>
              <a:ext cx="180000" cy="107950"/>
            </a:xfrm>
            <a:prstGeom prst="rect">
              <a:avLst/>
            </a:prstGeom>
            <a:solidFill>
              <a:srgbClr val="E5EAF3"/>
            </a:solidFill>
            <a:ln w="9525" algn="ctr">
              <a:noFill/>
              <a:miter lim="800000"/>
              <a:headEnd/>
              <a:tailEnd/>
            </a:ln>
            <a:effectLst/>
          </p:spPr>
          <p:txBody>
            <a:bodyPr wrap="none" anchor="ctr"/>
            <a:lstStyle/>
            <a:p>
              <a:pPr>
                <a:lnSpc>
                  <a:spcPts val="2000"/>
                </a:lnSpc>
              </a:pPr>
              <a:endParaRPr lang="en-US" dirty="0" smtClean="0"/>
            </a:p>
          </p:txBody>
        </p:sp>
        <p:sp>
          <p:nvSpPr>
            <p:cNvPr id="85" name="Rectangle 20">
              <a:hlinkClick r:id="" action="ppaction://noaction"/>
            </p:cNvPr>
            <p:cNvSpPr>
              <a:spLocks noChangeArrowheads="1"/>
            </p:cNvSpPr>
            <p:nvPr/>
          </p:nvSpPr>
          <p:spPr bwMode="auto">
            <a:xfrm>
              <a:off x="-550" y="1977675"/>
              <a:ext cx="180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sp>
          <p:nvSpPr>
            <p:cNvPr id="86" name="Rectangle 20">
              <a:hlinkClick r:id="" action="ppaction://noaction"/>
            </p:cNvPr>
            <p:cNvSpPr>
              <a:spLocks noChangeArrowheads="1"/>
            </p:cNvSpPr>
            <p:nvPr/>
          </p:nvSpPr>
          <p:spPr bwMode="auto">
            <a:xfrm>
              <a:off x="-550" y="2156400"/>
              <a:ext cx="180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dirty="0" smtClean="0"/>
            </a:p>
          </p:txBody>
        </p:sp>
      </p:grpSp>
      <p:sp>
        <p:nvSpPr>
          <p:cNvPr id="5" name="Rectangle 3"/>
          <p:cNvSpPr>
            <a:spLocks noChangeArrowheads="1"/>
          </p:cNvSpPr>
          <p:nvPr/>
        </p:nvSpPr>
        <p:spPr bwMode="auto">
          <a:xfrm>
            <a:off x="272479" y="1267200"/>
            <a:ext cx="5220000" cy="825625"/>
          </a:xfrm>
          <a:prstGeom prst="rect">
            <a:avLst/>
          </a:prstGeom>
          <a:solidFill>
            <a:schemeClr val="accent4"/>
          </a:solidFill>
          <a:ln w="25400" algn="ctr">
            <a:noFill/>
            <a:miter lim="800000"/>
            <a:headEnd/>
            <a:tailEnd/>
          </a:ln>
          <a:effectLst/>
        </p:spPr>
        <p:txBody>
          <a:bodyPr tIns="36000" anchor="t"/>
          <a:lstStyle/>
          <a:p>
            <a:pPr algn="ctr" fontAlgn="base">
              <a:spcBef>
                <a:spcPct val="0"/>
              </a:spcBef>
              <a:spcAft>
                <a:spcPct val="0"/>
              </a:spcAft>
              <a:defRPr/>
            </a:pPr>
            <a:r>
              <a:rPr lang="en-US" sz="1000" b="1" dirty="0" smtClean="0">
                <a:solidFill>
                  <a:srgbClr val="FFFFFF"/>
                </a:solidFill>
              </a:rPr>
              <a:t>Steering Committee</a:t>
            </a:r>
          </a:p>
          <a:p>
            <a:pPr algn="ctr" fontAlgn="base">
              <a:spcBef>
                <a:spcPct val="0"/>
              </a:spcBef>
              <a:spcAft>
                <a:spcPct val="0"/>
              </a:spcAft>
              <a:defRPr/>
            </a:pPr>
            <a:endParaRPr lang="en-US" sz="1000" b="1" dirty="0" smtClean="0">
              <a:solidFill>
                <a:srgbClr val="FFFFFF"/>
              </a:solidFill>
            </a:endParaRPr>
          </a:p>
          <a:p>
            <a:pPr algn="ctr" fontAlgn="base">
              <a:spcBef>
                <a:spcPct val="0"/>
              </a:spcBef>
              <a:spcAft>
                <a:spcPct val="0"/>
              </a:spcAft>
              <a:defRPr/>
            </a:pPr>
            <a:endParaRPr lang="en-US" sz="1000" b="1" dirty="0">
              <a:solidFill>
                <a:srgbClr val="FFFFFF"/>
              </a:solidFill>
            </a:endParaRPr>
          </a:p>
        </p:txBody>
      </p:sp>
      <p:sp>
        <p:nvSpPr>
          <p:cNvPr id="54" name="Rechteck 53"/>
          <p:cNvSpPr/>
          <p:nvPr/>
        </p:nvSpPr>
        <p:spPr bwMode="auto">
          <a:xfrm>
            <a:off x="299864" y="1484101"/>
            <a:ext cx="5148000" cy="564336"/>
          </a:xfrm>
          <a:prstGeom prst="rect">
            <a:avLst/>
          </a:prstGeom>
          <a:solidFill>
            <a:schemeClr val="bg1"/>
          </a:solidFill>
          <a:ln w="9525" algn="ctr">
            <a:noFill/>
            <a:miter lim="800000"/>
            <a:headEnd/>
            <a:tailEnd/>
          </a:ln>
          <a:effectLst/>
        </p:spPr>
        <p:txBody>
          <a:bodyPr wrap="square" rtlCol="0" anchor="ctr">
            <a:normAutofit fontScale="85000" lnSpcReduction="10000"/>
          </a:bodyPr>
          <a:lstStyle/>
          <a:p>
            <a:pPr algn="ctr" fontAlgn="base">
              <a:lnSpc>
                <a:spcPts val="2000"/>
              </a:lnSpc>
              <a:spcBef>
                <a:spcPct val="0"/>
              </a:spcBef>
              <a:spcAft>
                <a:spcPct val="0"/>
              </a:spcAft>
            </a:pPr>
            <a:r>
              <a:rPr lang="de-DE" dirty="0" smtClean="0"/>
              <a:t>Jan Herrmann, Michael </a:t>
            </a:r>
            <a:r>
              <a:rPr lang="de-DE" dirty="0" smtClean="0"/>
              <a:t>Münnich, Sebastian Hartmann</a:t>
            </a:r>
            <a:endParaRPr lang="de-DE" dirty="0" smtClean="0"/>
          </a:p>
        </p:txBody>
      </p:sp>
      <p:cxnSp>
        <p:nvCxnSpPr>
          <p:cNvPr id="55" name="Gerade Verbindung 60"/>
          <p:cNvCxnSpPr>
            <a:stCxn id="7" idx="2"/>
            <a:endCxn id="17" idx="0"/>
          </p:cNvCxnSpPr>
          <p:nvPr/>
        </p:nvCxnSpPr>
        <p:spPr>
          <a:xfrm>
            <a:off x="4466479" y="2649183"/>
            <a:ext cx="0" cy="596361"/>
          </a:xfrm>
          <a:prstGeom prst="line">
            <a:avLst/>
          </a:prstGeom>
          <a:ln w="12700">
            <a:solidFill>
              <a:srgbClr val="747678"/>
            </a:solidFill>
          </a:ln>
        </p:spPr>
        <p:style>
          <a:lnRef idx="1">
            <a:schemeClr val="accent1"/>
          </a:lnRef>
          <a:fillRef idx="0">
            <a:schemeClr val="accent1"/>
          </a:fillRef>
          <a:effectRef idx="0">
            <a:schemeClr val="accent1"/>
          </a:effectRef>
          <a:fontRef idx="minor">
            <a:schemeClr val="tx1"/>
          </a:fontRef>
        </p:style>
      </p:cxnSp>
      <p:sp>
        <p:nvSpPr>
          <p:cNvPr id="47" name="Rectangle 14"/>
          <p:cNvSpPr>
            <a:spLocks noChangeArrowheads="1"/>
          </p:cNvSpPr>
          <p:nvPr/>
        </p:nvSpPr>
        <p:spPr bwMode="auto">
          <a:xfrm>
            <a:off x="398479" y="3817997"/>
            <a:ext cx="1800000" cy="432000"/>
          </a:xfrm>
          <a:prstGeom prst="rect">
            <a:avLst/>
          </a:prstGeom>
          <a:solidFill>
            <a:srgbClr val="4066AA"/>
          </a:solidFill>
          <a:ln w="25400" algn="ctr">
            <a:noFill/>
            <a:miter lim="800000"/>
            <a:headEnd/>
            <a:tailEnd/>
          </a:ln>
          <a:effectLst/>
        </p:spPr>
        <p:txBody>
          <a:bodyPr anchor="ctr"/>
          <a:lstStyle/>
          <a:p>
            <a:pPr algn="ctr" fontAlgn="base">
              <a:spcBef>
                <a:spcPct val="20000"/>
              </a:spcBef>
              <a:spcAft>
                <a:spcPct val="0"/>
              </a:spcAft>
              <a:defRPr/>
            </a:pPr>
            <a:r>
              <a:rPr lang="en-US" sz="1000" b="1" dirty="0" smtClean="0">
                <a:solidFill>
                  <a:srgbClr val="FFFFFF"/>
                </a:solidFill>
              </a:rPr>
              <a:t>Kristin Schiefer (</a:t>
            </a:r>
            <a:r>
              <a:rPr lang="en-US" sz="1000" b="1" dirty="0" err="1" smtClean="0">
                <a:solidFill>
                  <a:srgbClr val="FFFFFF"/>
                </a:solidFill>
              </a:rPr>
              <a:t>CorEdu</a:t>
            </a:r>
            <a:r>
              <a:rPr lang="en-US" sz="1000" b="1" dirty="0" smtClean="0">
                <a:solidFill>
                  <a:srgbClr val="FFFFFF"/>
                </a:solidFill>
              </a:rPr>
              <a:t>)</a:t>
            </a:r>
            <a:endParaRPr lang="en-US" sz="1000" dirty="0" smtClean="0">
              <a:solidFill>
                <a:srgbClr val="FFFFFF"/>
              </a:solidFill>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bwMode="gray"/>
        <p:txBody>
          <a:bodyPr/>
          <a:lstStyle/>
          <a:p>
            <a:r>
              <a:rPr lang="en-US" smtClean="0"/>
              <a:t>Agenda</a:t>
            </a:r>
            <a:endParaRPr lang="en-US"/>
          </a:p>
        </p:txBody>
      </p:sp>
      <p:sp>
        <p:nvSpPr>
          <p:cNvPr id="26" name="Rectangle 25">
            <a:hlinkClick r:id="" action="ppaction://noaction"/>
          </p:cNvPr>
          <p:cNvSpPr>
            <a:spLocks noChangeArrowheads="1"/>
          </p:cNvSpPr>
          <p:nvPr>
            <p:custDataLst>
              <p:tags r:id="rId2"/>
            </p:custDataLst>
          </p:nvPr>
        </p:nvSpPr>
        <p:spPr bwMode="gray">
          <a:xfrm>
            <a:off x="1" y="1630569"/>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27" name="Rectangle 26">
            <a:hlinkClick r:id="" action="ppaction://noaction"/>
          </p:cNvPr>
          <p:cNvSpPr>
            <a:spLocks noChangeArrowheads="1"/>
          </p:cNvSpPr>
          <p:nvPr>
            <p:custDataLst>
              <p:tags r:id="rId3"/>
            </p:custDataLst>
          </p:nvPr>
        </p:nvSpPr>
        <p:spPr bwMode="gray">
          <a:xfrm>
            <a:off x="1" y="1270207"/>
            <a:ext cx="216000" cy="107950"/>
          </a:xfrm>
          <a:prstGeom prst="rect">
            <a:avLst/>
          </a:prstGeom>
          <a:solidFill>
            <a:srgbClr val="00338D"/>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p>
        </p:txBody>
      </p:sp>
      <p:sp>
        <p:nvSpPr>
          <p:cNvPr id="28" name="Rectangle 27">
            <a:hlinkClick r:id="" action="ppaction://noaction"/>
          </p:cNvPr>
          <p:cNvSpPr>
            <a:spLocks noChangeArrowheads="1"/>
          </p:cNvSpPr>
          <p:nvPr>
            <p:custDataLst>
              <p:tags r:id="rId4"/>
            </p:custDataLst>
          </p:nvPr>
        </p:nvSpPr>
        <p:spPr bwMode="gray">
          <a:xfrm>
            <a:off x="1" y="1449594"/>
            <a:ext cx="216000" cy="107950"/>
          </a:xfrm>
          <a:prstGeom prst="rect">
            <a:avLst/>
          </a:prstGeom>
          <a:solidFill>
            <a:srgbClr val="E5EAF3"/>
          </a:solidFill>
          <a:ln w="9525" algn="ctr">
            <a:noFill/>
            <a:miter lim="800000"/>
            <a:headEnd/>
            <a:tailEnd/>
          </a:ln>
          <a:effectLst/>
        </p:spPr>
        <p:txBody>
          <a:bodyPr wrap="none" anchor="ctr"/>
          <a:lstStyle/>
          <a:p>
            <a:pPr fontAlgn="base">
              <a:lnSpc>
                <a:spcPts val="2000"/>
              </a:lnSpc>
              <a:spcBef>
                <a:spcPct val="0"/>
              </a:spcBef>
              <a:spcAft>
                <a:spcPct val="0"/>
              </a:spcAft>
            </a:pPr>
            <a:endParaRPr lang="en-US" smtClean="0">
              <a:ln>
                <a:solidFill>
                  <a:srgbClr val="E5EAF3"/>
                </a:solidFill>
              </a:ln>
            </a:endParaRPr>
          </a:p>
        </p:txBody>
      </p:sp>
      <p:sp>
        <p:nvSpPr>
          <p:cNvPr id="29" name="Rectangle 28">
            <a:hlinkClick r:id="" action="ppaction://noaction"/>
          </p:cNvPr>
          <p:cNvSpPr>
            <a:spLocks noChangeArrowheads="1"/>
          </p:cNvSpPr>
          <p:nvPr>
            <p:custDataLst>
              <p:tags r:id="rId5"/>
            </p:custDataLst>
          </p:nvPr>
        </p:nvSpPr>
        <p:spPr bwMode="gray">
          <a:xfrm>
            <a:off x="1" y="1809957"/>
            <a:ext cx="216000" cy="107950"/>
          </a:xfrm>
          <a:prstGeom prst="rect">
            <a:avLst/>
          </a:prstGeom>
          <a:solidFill>
            <a:srgbClr val="E5EAF3"/>
          </a:solidFill>
          <a:ln w="9525" algn="ctr">
            <a:noFill/>
            <a:miter lim="800000"/>
            <a:headEnd/>
            <a:tailEnd/>
          </a:ln>
          <a:effectLst/>
        </p:spPr>
        <p:txBody>
          <a:bodyPr wrap="none" anchor="ctr"/>
          <a:lstStyle/>
          <a:p>
            <a:endParaRPr lang="en-US"/>
          </a:p>
        </p:txBody>
      </p:sp>
      <p:sp>
        <p:nvSpPr>
          <p:cNvPr id="30" name="Rectangle 29">
            <a:hlinkClick r:id="" action="ppaction://noaction"/>
          </p:cNvPr>
          <p:cNvSpPr>
            <a:spLocks noChangeArrowheads="1"/>
          </p:cNvSpPr>
          <p:nvPr>
            <p:custDataLst>
              <p:tags r:id="rId6"/>
            </p:custDataLst>
          </p:nvPr>
        </p:nvSpPr>
        <p:spPr bwMode="gray">
          <a:xfrm>
            <a:off x="1" y="1989344"/>
            <a:ext cx="216000" cy="107950"/>
          </a:xfrm>
          <a:prstGeom prst="rect">
            <a:avLst/>
          </a:prstGeom>
          <a:solidFill>
            <a:srgbClr val="E5EAF3"/>
          </a:solidFill>
          <a:ln w="6350" algn="ctr">
            <a:noFill/>
            <a:miter lim="800000"/>
            <a:headEnd/>
            <a:tailEnd/>
          </a:ln>
          <a:effectLst/>
        </p:spPr>
        <p:txBody>
          <a:bodyPr wrap="none" lIns="36000" tIns="36000" rIns="36000" bIns="36000" anchor="ctr"/>
          <a:lstStyle/>
          <a:p>
            <a:pPr>
              <a:spcBef>
                <a:spcPct val="0"/>
              </a:spcBef>
            </a:pPr>
            <a:endParaRPr lang="en-US" sz="1050">
              <a:latin typeface="Arial"/>
            </a:endParaRPr>
          </a:p>
        </p:txBody>
      </p:sp>
      <p:sp>
        <p:nvSpPr>
          <p:cNvPr id="31" name="Rectangle 38"/>
          <p:cNvSpPr>
            <a:spLocks noChangeArrowheads="1"/>
          </p:cNvSpPr>
          <p:nvPr/>
        </p:nvSpPr>
        <p:spPr bwMode="gray">
          <a:xfrm>
            <a:off x="1466699" y="1853613"/>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Management Summary</a:t>
            </a:r>
          </a:p>
        </p:txBody>
      </p:sp>
      <p:sp>
        <p:nvSpPr>
          <p:cNvPr id="32" name="Text Box 39"/>
          <p:cNvSpPr txBox="1">
            <a:spLocks noChangeArrowheads="1"/>
          </p:cNvSpPr>
          <p:nvPr/>
        </p:nvSpPr>
        <p:spPr bwMode="gray">
          <a:xfrm>
            <a:off x="795187" y="1853613"/>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a:t>
            </a:r>
            <a:endParaRPr lang="en-US" sz="1400" b="1" dirty="0">
              <a:solidFill>
                <a:schemeClr val="accent4"/>
              </a:solidFill>
            </a:endParaRPr>
          </a:p>
        </p:txBody>
      </p:sp>
      <p:sp>
        <p:nvSpPr>
          <p:cNvPr id="33" name="Rectangle 40"/>
          <p:cNvSpPr>
            <a:spLocks noChangeArrowheads="1"/>
          </p:cNvSpPr>
          <p:nvPr/>
        </p:nvSpPr>
        <p:spPr bwMode="gray">
          <a:xfrm>
            <a:off x="1466699" y="2437019"/>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House Rules</a:t>
            </a:r>
          </a:p>
        </p:txBody>
      </p:sp>
      <p:sp>
        <p:nvSpPr>
          <p:cNvPr id="34" name="Text Box 41"/>
          <p:cNvSpPr txBox="1">
            <a:spLocks noChangeArrowheads="1"/>
          </p:cNvSpPr>
          <p:nvPr/>
        </p:nvSpPr>
        <p:spPr bwMode="gray">
          <a:xfrm>
            <a:off x="795187" y="2437019"/>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I</a:t>
            </a:r>
          </a:p>
        </p:txBody>
      </p:sp>
      <p:sp>
        <p:nvSpPr>
          <p:cNvPr id="36" name="Rectangle 42"/>
          <p:cNvSpPr>
            <a:spLocks noChangeArrowheads="1"/>
          </p:cNvSpPr>
          <p:nvPr/>
        </p:nvSpPr>
        <p:spPr bwMode="gray">
          <a:xfrm>
            <a:off x="1466699" y="3020427"/>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Project Structure</a:t>
            </a:r>
          </a:p>
        </p:txBody>
      </p:sp>
      <p:sp>
        <p:nvSpPr>
          <p:cNvPr id="37" name="Text Box 43"/>
          <p:cNvSpPr txBox="1">
            <a:spLocks noChangeArrowheads="1"/>
          </p:cNvSpPr>
          <p:nvPr/>
        </p:nvSpPr>
        <p:spPr bwMode="gray">
          <a:xfrm>
            <a:off x="795187" y="3020427"/>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III</a:t>
            </a:r>
          </a:p>
        </p:txBody>
      </p:sp>
      <p:sp>
        <p:nvSpPr>
          <p:cNvPr id="40" name="Rectangle 42"/>
          <p:cNvSpPr>
            <a:spLocks noChangeArrowheads="1"/>
          </p:cNvSpPr>
          <p:nvPr/>
        </p:nvSpPr>
        <p:spPr bwMode="gray">
          <a:xfrm>
            <a:off x="1466699" y="3584963"/>
            <a:ext cx="7638593" cy="485775"/>
          </a:xfrm>
          <a:prstGeom prst="rect">
            <a:avLst/>
          </a:prstGeom>
          <a:solidFill>
            <a:schemeClr val="accent4"/>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bg1"/>
                </a:solidFill>
              </a:rPr>
              <a:t>Road Map</a:t>
            </a:r>
          </a:p>
        </p:txBody>
      </p:sp>
      <p:sp>
        <p:nvSpPr>
          <p:cNvPr id="41" name="Text Box 43"/>
          <p:cNvSpPr txBox="1">
            <a:spLocks noChangeArrowheads="1"/>
          </p:cNvSpPr>
          <p:nvPr/>
        </p:nvSpPr>
        <p:spPr bwMode="gray">
          <a:xfrm>
            <a:off x="795187" y="3584963"/>
            <a:ext cx="600075" cy="485775"/>
          </a:xfrm>
          <a:prstGeom prst="rect">
            <a:avLst/>
          </a:prstGeom>
          <a:solidFill>
            <a:schemeClr val="accent4"/>
          </a:solidFill>
          <a:ln w="9525" algn="ctr">
            <a:noFill/>
            <a:miter lim="800000"/>
            <a:headEnd/>
            <a:tailEnd/>
          </a:ln>
        </p:spPr>
        <p:txBody>
          <a:bodyPr wrap="none" lIns="54000" tIns="54000" rIns="54000" bIns="54000" anchor="ctr"/>
          <a:lstStyle/>
          <a:p>
            <a:pPr algn="ctr"/>
            <a:r>
              <a:rPr lang="en-US" sz="1400" b="1" dirty="0" smtClean="0">
                <a:solidFill>
                  <a:schemeClr val="bg1"/>
                </a:solidFill>
              </a:rPr>
              <a:t>IV</a:t>
            </a:r>
            <a:endParaRPr lang="en-US" sz="1400" b="1" dirty="0">
              <a:solidFill>
                <a:schemeClr val="bg1"/>
              </a:solidFill>
            </a:endParaRPr>
          </a:p>
        </p:txBody>
      </p:sp>
      <p:sp>
        <p:nvSpPr>
          <p:cNvPr id="42" name="Rectangle 42"/>
          <p:cNvSpPr>
            <a:spLocks noChangeArrowheads="1"/>
          </p:cNvSpPr>
          <p:nvPr/>
        </p:nvSpPr>
        <p:spPr bwMode="gray">
          <a:xfrm>
            <a:off x="1466699" y="4180049"/>
            <a:ext cx="7638593" cy="485775"/>
          </a:xfrm>
          <a:prstGeom prst="rect">
            <a:avLst/>
          </a:prstGeom>
          <a:solidFill>
            <a:srgbClr val="E5EAF3"/>
          </a:solidFill>
          <a:ln w="9525" algn="ctr">
            <a:noFill/>
            <a:miter lim="800000"/>
            <a:headEnd/>
            <a:tailEnd/>
          </a:ln>
        </p:spPr>
        <p:txBody>
          <a:bodyPr wrap="none" lIns="54000" tIns="54000" rIns="54000" bIns="54000" anchor="ctr"/>
          <a:lstStyle/>
          <a:p>
            <a:pPr marL="447675" indent="-268288" fontAlgn="base">
              <a:spcBef>
                <a:spcPct val="50000"/>
              </a:spcBef>
              <a:spcAft>
                <a:spcPct val="0"/>
              </a:spcAft>
            </a:pPr>
            <a:r>
              <a:rPr lang="en-US" sz="1400" b="1" dirty="0" smtClean="0">
                <a:solidFill>
                  <a:schemeClr val="accent4"/>
                </a:solidFill>
              </a:rPr>
              <a:t>Back up: Specifications</a:t>
            </a:r>
          </a:p>
        </p:txBody>
      </p:sp>
      <p:sp>
        <p:nvSpPr>
          <p:cNvPr id="43" name="Text Box 43"/>
          <p:cNvSpPr txBox="1">
            <a:spLocks noChangeArrowheads="1"/>
          </p:cNvSpPr>
          <p:nvPr/>
        </p:nvSpPr>
        <p:spPr bwMode="gray">
          <a:xfrm>
            <a:off x="795187" y="4180049"/>
            <a:ext cx="600075" cy="485775"/>
          </a:xfrm>
          <a:prstGeom prst="rect">
            <a:avLst/>
          </a:prstGeom>
          <a:solidFill>
            <a:srgbClr val="E5EAF3"/>
          </a:solidFill>
          <a:ln w="9525" algn="ctr">
            <a:noFill/>
            <a:miter lim="800000"/>
            <a:headEnd/>
            <a:tailEnd/>
          </a:ln>
        </p:spPr>
        <p:txBody>
          <a:bodyPr wrap="none" lIns="54000" tIns="54000" rIns="54000" bIns="54000" anchor="ctr"/>
          <a:lstStyle/>
          <a:p>
            <a:pPr algn="ctr"/>
            <a:r>
              <a:rPr lang="en-US" sz="1400" b="1" dirty="0" smtClean="0">
                <a:solidFill>
                  <a:schemeClr val="accent4"/>
                </a:solidFill>
              </a:rPr>
              <a:t>V</a:t>
            </a:r>
            <a:endParaRPr lang="en-US" sz="1400" b="1" dirty="0">
              <a:solidFill>
                <a:schemeClr val="accent4"/>
              </a:solidFill>
            </a:endParaRPr>
          </a:p>
        </p:txBody>
      </p:sp>
    </p:spTree>
    <p:custDataLst>
      <p:tags r:id="rId1"/>
    </p:custDataLst>
    <p:extLst>
      <p:ext uri="{BB962C8B-B14F-4D97-AF65-F5344CB8AC3E}">
        <p14:creationId xmlns:p14="http://schemas.microsoft.com/office/powerpoint/2010/main" xmlns="" val="418556715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4.04"/>
  <p:tag name="TYPE" val="FullPage"/>
  <p:tag name="KEYWORD" val="FULL-PAGE"/>
  <p:tag name="TEMPLATEVERSION" val="18/01/2011 09:12:04"/>
  <p:tag name="PFPRODUCTIONADDIN_PFP1" val="9e798594-8b4f-4c8c-b2bf-6ce01dedc827"/>
  <p:tag name="SMARTBOX_SB5" val="nUUNXklmV4pSDcqt2IXh50IiPXukD+LR"/>
  <p:tag name="SMARTBOX_SB2" val="triusHaAMN+p+jM6fLJqrPK2Ly5eiQhc"/>
  <p:tag name="THINKCELLUNDODONOTDELETE" val="0"/>
  <p:tag name="THINKCELLPRESENTATIONDONOTDELETE" val="&lt;?xml version=&quot;1.0&quot; encoding=&quot;UTF-16&quot; standalone=&quot;yes&quot;?&gt;&#10;&lt;root reqver=&quot;21047&quot;&gt;&lt;version val=&quot;22208&quot;/&gt;&lt;CPresentation id=&quot;1&quot;&gt;&lt;m_precDefaultNumber/&gt;&lt;m_precDefaultPercent/&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4&lt;/m_strFormatTime&gt;&lt;/m_precDefaultWeek&gt;&lt;m_precDefaultDay&gt;&lt;m_strFormatTime&gt;%#d&lt;/m_strFormatTime&gt;&lt;/m_precDefaultDay&gt;&lt;m_mruColor&gt;&lt;m_vecMRU length=&quot;17&quot;&gt;&lt;elem m_fUsage=&quot;2.00970561172516680000E+000&quot;&gt;&lt;m_ppcolschidx val=&quot;0&quot;/&gt;&lt;m_rgb r=&quot;80&quot; g=&quot;99&quot; b=&quot;c6&quot;/&gt;&lt;m_nBrightness val=&quot;0&quot;/&gt;&lt;/elem&gt;&lt;elem m_fUsage=&quot;1.81931250788518420000E+000&quot;&gt;&lt;m_ppcolschidx val=&quot;0&quot;/&gt;&lt;m_rgb r=&quot;84&quot; g=&quot;a9&quot; b=&quot;e4&quot;/&gt;&lt;m_nBrightness val=&quot;0&quot;/&gt;&lt;/elem&gt;&lt;elem m_fUsage=&quot;1.76072643648100020000E+000&quot;&gt;&lt;m_ppcolschidx val=&quot;0&quot;/&gt;&lt;m_rgb r=&quot;16&quot; g=&quot;44&quot; b=&quot;9a&quot;/&gt;&lt;m_nBrightness val=&quot;0&quot;/&gt;&lt;/elem&gt;&lt;elem m_fUsage=&quot;1.36456957219464910000E+000&quot;&gt;&lt;m_ppcolschidx val=&quot;0&quot;/&gt;&lt;m_rgb r=&quot;93&quot; g=&quot;b3&quot; b=&quot;e7&quot;/&gt;&lt;m_nBrightness val=&quot;0&quot;/&gt;&lt;/elem&gt;&lt;elem m_fUsage=&quot;1.28560039485918540000E+000&quot;&gt;&lt;m_ppcolschidx val=&quot;0&quot;/&gt;&lt;m_rgb r=&quot;bf&quot; g=&quot;cc&quot; b=&quot;e3&quot;/&gt;&lt;m_nBrightness val=&quot;0&quot;/&gt;&lt;/elem&gt;&lt;elem m_fUsage=&quot;2.85179807064298410000E-001&quot;&gt;&lt;m_ppcolschidx val=&quot;0&quot;/&gt;&lt;m_rgb r=&quot;c8&quot; g=&quot;4e&quot; b=&quot;0&quot;/&gt;&lt;m_nBrightness val=&quot;0&quot;/&gt;&lt;/elem&gt;&lt;elem m_fUsage=&quot;2.63306080357230410000E-001&quot;&gt;&lt;m_ppcolschidx val=&quot;0&quot;/&gt;&lt;m_rgb r=&quot;e5&quot; g=&quot;ea&quot; b=&quot;f3&quot;/&gt;&lt;m_nBrightness val=&quot;0&quot;/&gt;&lt;/elem&gt;&lt;elem m_fUsage=&quot;2.30995643722081700000E-001&quot;&gt;&lt;m_ppcolschidx val=&quot;0&quot;/&gt;&lt;m_rgb r=&quot;7a&quot; g=&quot;b8&quot; b=&quot;0&quot;/&gt;&lt;m_nBrightness val=&quot;0&quot;/&gt;&lt;/elem&gt;&lt;elem m_fUsage=&quot;2.28767924549610120000E-001&quot;&gt;&lt;m_ppcolschidx val=&quot;0&quot;/&gt;&lt;m_rgb r=&quot;3e&quot; g=&quot;64&quot; b=&quot;ee&quot;/&gt;&lt;m_nBrightness val=&quot;0&quot;/&gt;&lt;/elem&gt;&lt;elem m_fUsage=&quot;1.66771816996665770000E-001&quot;&gt;&lt;m_ppcolschidx val=&quot;0&quot;/&gt;&lt;m_rgb r=&quot;0&quot; g=&quot;33&quot; b=&quot;8d&quot;/&gt;&lt;m_nBrightness val=&quot;0&quot;/&gt;&lt;/elem&gt;&lt;elem m_fUsage=&quot;1.63814345757713250000E-001&quot;&gt;&lt;m_ppcolschidx val=&quot;0&quot;/&gt;&lt;m_rgb r=&quot;97&quot; g=&quot;98&quot; b=&quot;9a&quot;/&gt;&lt;m_nBrightness val=&quot;0&quot;/&gt;&lt;/elem&gt;&lt;elem m_fUsage=&quot;1.25572450328188810000E-001&quot;&gt;&lt;m_ppcolschidx val=&quot;0&quot;/&gt;&lt;m_rgb r=&quot;40&quot; g=&quot;66&quot; b=&quot;aa&quot;/&gt;&lt;m_nBrightness val=&quot;0&quot;/&gt;&lt;/elem&gt;&lt;elem m_fUsage=&quot;9.84770902183611930000E-002&quot;&gt;&lt;m_ppcolschidx val=&quot;0&quot;/&gt;&lt;m_rgb r=&quot;dc&quot; g=&quot;dd&quot; b=&quot;dd&quot;/&gt;&lt;m_nBrightness val=&quot;0&quot;/&gt;&lt;/elem&gt;&lt;elem m_fUsage=&quot;2.25283995449391990000E-002&quot;&gt;&lt;m_ppcolschidx val=&quot;0&quot;/&gt;&lt;m_rgb r=&quot;aa&quot; g=&quot;5c&quot; b=&quot;aa&quot;/&gt;&lt;m_nBrightness val=&quot;0&quot;/&gt;&lt;/elem&gt;&lt;elem m_fUsage=&quot;2.02755595904452780000E-002&quot;&gt;&lt;m_ppcolschidx val=&quot;0&quot;/&gt;&lt;m_rgb r=&quot;40&quot; g=&quot;9d&quot; b=&quot;ad&quot;/&gt;&lt;m_nBrightness val=&quot;0&quot;/&gt;&lt;/elem&gt;&lt;elem m_fUsage=&quot;1.82480036314007500000E-002&quot;&gt;&lt;m_ppcolschidx val=&quot;0&quot;/&gt;&lt;m_rgb r=&quot;f1&quot; g=&quot;f1&quot; b=&quot;f1&quot;/&gt;&lt;m_nBrightness val=&quot;0&quot;/&gt;&lt;/elem&gt;&lt;elem m_fUsage=&quot;1.64232032682606750000E-002&quot;&gt;&lt;m_ppcolschidx val=&quot;0&quot;/&gt;&lt;m_rgb r=&quot;e5&quot; g=&quot;f2&quot; b=&quot;f4&quot;/&gt;&lt;m_nBrightness val=&quot;0&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PFPRODUCTIONADDIN_PFS1" val="9e798594-8b4f-4c8c-b2bf-6ce01dedc827"/>
  <p:tag name="PFPRODUCTIONADDIN_PFS2" val="681a3d59-a947-40b1-826c-0add7113b8b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QvPW0UzS0WndFN29fJB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Mqlc_OF_kKl4GEr4m6bT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tqJAuMQLUmiZ3CTzblI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2qcYW.GJECDvy_BNpOeB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RQRfTUAL0WaOD2tANL.R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dQevvGNaUaUPelJk_Iu3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tDHi3jKRkiJNfMJsLAT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IqAchEgakiA3xGvpPP6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hoVzRM.dU6jB2Ukr49m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MsgXZ7Io0iK_4pdj_jM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1qYwQifU0iwdmKBzi2lh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5gK1RBKFPEyh55aBLN3Rl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_bb8xsAHUq_ysmGItz5B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T_Q3rZPbE2UunZhvLi56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Ap659HjjEiOWRtP7zOul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Jfr_65IAkaUKlYOBdoP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GVjHPxB_UqoR5MYT07qd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5gvbeHU1kSAtqWJPKRjN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bfORcCUCke3biVTus6w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17hsqRHYUyeDrQQrDKci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2Y7U8q9jz0K06TWRV9g0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HNR2Ap30kiHiFWRpobE9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5TC5Mzn3iUWBOJ9A..iyk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DkL8OE840q.UQVy4motX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60vM_61X0.97wia8yuDe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Yf1nTsI2p0uHvuw6wVFY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4L_sEpRJMUi.CWVIdru2b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cJavumie0CwDtAJM8O2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BRGQkP7WEi84PtUtggn9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lZ3yJjqoEiFdiNj8qsiz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g2hZwR9fUehZfKuznw7q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LxjJB1Gpk67tFw6a4yf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6Pi0.nBnUqn_F5n_H3S.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fKvoSwPIE2SMsPFhQMUH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dfkboX_pkeHUCQkbqC7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b_vXQ1bd0iQsaq2d0RHP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jmOpgyJoEWcQPK6ACUM2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6t1687v9Uu2Obli2_Vw5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0K0u6XR8YkmEqQPinBSqa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lPZ9qvXsEiR_zUWBwv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KEEBxHbpEyhbxGsBuWsD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o80tHQDwkm49gPSuzOF.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ex4VbjLekSngn8fiDW5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yaxqHK7UWFiZZ9Yug4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Llw6T52Dkmzow.cA9X1T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1K9d5LYCokujKPEeJyf0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3pgjcRLCkKXNyYnVWFbu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AOQUYAlM0qOPzdS.juee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_M7ocn..IU.SS6YIJ1nCW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u7bbeKV8kGM4hrKvrlqR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GiYjrv80UyI_QsVQt.fE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CNj8s4qKkezAzo255h4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40bZ_2hcU6Rum7.lLxk.Q"/>
</p:tagLst>
</file>

<file path=ppt/tags/tag16.xml><?xml version="1.0" encoding="utf-8"?>
<p:tagLst xmlns:a="http://schemas.openxmlformats.org/drawingml/2006/main" xmlns:r="http://schemas.openxmlformats.org/officeDocument/2006/relationships" xmlns:p="http://schemas.openxmlformats.org/presentationml/2006/main">
  <p:tag name="PFPRODUCTIONADDIN_PFS1" val="9e798594-8b4f-4c8c-b2bf-6ce01dedc827"/>
  <p:tag name="PFPRODUCTIONADDIN_PFS2" val="681a3d59-a947-40b1-826c-0add7113b8bd"/>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1qYwQifU0iwdmKBzi2l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HNR2Ap30kiHiFWRpobE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6Pi0.nBnUqn_F5n_H3S.A"/>
</p:tagLst>
</file>

<file path=ppt/tags/tag2.xml><?xml version="1.0" encoding="utf-8"?>
<p:tagLst xmlns:a="http://schemas.openxmlformats.org/drawingml/2006/main" xmlns:r="http://schemas.openxmlformats.org/officeDocument/2006/relationships" xmlns:p="http://schemas.openxmlformats.org/presentationml/2006/main">
  <p:tag name="ADV_TOP" val="502,4668"/>
  <p:tag name="ADV_LEFT" val="88,07614"/>
  <p:tag name="ADV_HEIGHT" val="20,26528"/>
  <p:tag name="ADV_WIDTH" val="510,2929"/>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RyaxqHK7UWFiZZ9Yug4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40bZ_2hcU6Rum7.lLxk.Q"/>
</p:tagLst>
</file>

<file path=ppt/tags/tag22.xml><?xml version="1.0" encoding="utf-8"?>
<p:tagLst xmlns:a="http://schemas.openxmlformats.org/drawingml/2006/main" xmlns:r="http://schemas.openxmlformats.org/officeDocument/2006/relationships" xmlns:p="http://schemas.openxmlformats.org/presentationml/2006/main">
  <p:tag name="PFPRODUCTIONADDIN_PFS1" val="9e798594-8b4f-4c8c-b2bf-6ce01dedc827"/>
  <p:tag name="PFPRODUCTIONADDIN_PFS2" val="681a3d59-a947-40b1-826c-0add7113b8bd"/>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1qYwQifU0iwdmKBzi2l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HNR2Ap30kiHiFWRpobE9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6Pi0.nBnUqn_F5n_H3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RyaxqHK7UWFiZZ9Yug4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40bZ_2hcU6Rum7.lLx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pGKV3yQ5Uuv2U23pH.4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iMgpFW6o0OXpId.uEO_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0abzNCtjEqSQCIwUR9R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dj9.9qZSEC7B7hE5bgr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iag2VqEKEKiZLIrG53B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wKdnAmAMES3VntxrV8H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9Qeftc.8EmPtYzVempu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TSfiMeVpU2smAr0U9.J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ShtX79P0k6JTh2TZSnV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4v93KJp9k.LsoFPdnWC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XnGz9aG30Oq5VfK0QGY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VpAYw7Wn0.2kBgTkKex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SuBViwrk0SdY8kBq9XmCg"/>
</p:tagLst>
</file>

<file path=ppt/tags/tag4.xml><?xml version="1.0" encoding="utf-8"?>
<p:tagLst xmlns:a="http://schemas.openxmlformats.org/drawingml/2006/main" xmlns:r="http://schemas.openxmlformats.org/officeDocument/2006/relationships" xmlns:p="http://schemas.openxmlformats.org/presentationml/2006/main">
  <p:tag name="PFPRODUCTIONADDIN_PFS1" val="9e798594-8b4f-4c8c-b2bf-6ce01dedc827"/>
  <p:tag name="PFPRODUCTIONADDIN_PFS2" val="681a3d59-a947-40b1-826c-0add7113b8bd"/>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QvPW0UzS0WndFN29fJB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Mqlc_OF_kKl4GEr4m6b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tqJAuMQLUmiZ3CTzblI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2qcYW.GJECDvy_BNpOe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RQRfTUAL0WaOD2tANL.R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dQevvGNaUaUPelJk_Iu3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tDHi3jKRkiJNfMJsLAT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IqAchEgakiA3xGvpPP6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hoVzRM.dU6jB2Ukr49m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MsgXZ7Io0iK_4pdj_jM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1qYwQifU0iwdmKBzi2lh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gK1RBKFPEyh55aBLN3R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_bb8xsAHUq_ysmGItz5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T_Q3rZPbE2UunZhvLi56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Ap659HjjEiOWRtP7zOu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Jfr_65IAkaUKlYOBdoP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GVjHPxB_UqoR5MYT07q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5gvbeHU1kSAtqWJPKRj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bfORcCUCke3biVTus6w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17hsqRHYUyeDrQQrDKc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Y7U8q9jz0K06TWRV9g0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NR2Ap30kiHiFWRpobE9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TC5Mzn3iUWBOJ9A..iyk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DkL8OE840q.UQVy4mot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60vM_61X0.97wia8yuD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f1nTsI2p0uHvuw6wVFY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L_sEpRJMUi.CWVIdru2b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cJavumie0CwDtAJM8O2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BRGQkP7WEi84PtUtggn9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lZ3yJjqoEiFdiNj8qsi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g2hZwR9fUehZfKuznw7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LxjJB1Gpk67tFw6a4yf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6Pi0.nBnUqn_F5n_H3S.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fKvoSwPIE2SMsPFhQMU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dfkboX_pkeHUCQkbqC7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b_vXQ1bd0iQsaq2d0RH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jmOpgyJoEWcQPK6ACUM2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6t1687v9Uu2Obli2_Vw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K0u6XR8YkmEqQPinBSq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lPZ9qvXsEiR_zUWBwvh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KEEBxHbpEyhbxGsBuWs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o80tHQDwkm49gPSuzO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x4VbjLekSngn8fiDW5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RyaxqHK7UWFiZZ9Yug4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Llw6T52Dkmzow.cA9X1T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K9d5LYCokujKPEeJyf04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3pgjcRLCkKXNyYnVWFb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AOQUYAlM0qOPzdS.juee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M7ocn..IU.SS6YIJ1nC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u7bbeKV8kGM4hrKvrlq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GiYjrv80UyI_QsVQt.f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CNj8s4qKkezAzo255h46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pGKV3yQ5Uuv2U23pH.42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iMgpFW6o0OXpId.uEO_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40bZ_2hcU6Rum7.lLx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dj9.9qZSEC7B7hE5bgrV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iag2VqEKEKiZLIrG53B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8wKdnAmAMES3VntxrV8H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9Qeftc.8EmPtYzVempu0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TSfiMeVpU2smAr0U9.J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ShtX79P0k6JTh2TZSnVi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4v93KJp9k.LsoFPdnWCt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XnGz9aG30Oq5VfK0QGY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VpAYw7Wn0.2kBgTkKexi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9SuBViwrk0SdY8kBq9XmCg"/>
</p:tagLst>
</file>

<file path=ppt/theme/theme1.xml><?xml version="1.0" encoding="utf-8"?>
<a:theme xmlns:a="http://schemas.openxmlformats.org/drawingml/2006/main" name="blank">
  <a:themeElements>
    <a:clrScheme name="Custom 7">
      <a:dk1>
        <a:srgbClr val="000000"/>
      </a:dk1>
      <a:lt1>
        <a:srgbClr val="FFFFFF"/>
      </a:lt1>
      <a:dk2>
        <a:srgbClr val="4066AA"/>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000" dirty="0" err="1" smtClean="0"/>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6CEBEB6BB9A141925895DAF32BA621" ma:contentTypeVersion="0" ma:contentTypeDescription="Create a new document." ma:contentTypeScope="" ma:versionID="ba74607f9d7e41d52371d3656efad8f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Statusbericht" ma:contentTypeID="0x01010048282815871771469AEFBC14BDAE1926" ma:contentTypeVersion="0" ma:contentTypeDescription="" ma:contentTypeScope="" ma:versionID="261cb3a75e41e0c14ef4a263ccf286af">
  <xsd:schema xmlns:xsd="http://www.w3.org/2001/XMLSchema" xmlns:xs="http://www.w3.org/2001/XMLSchema" xmlns:p="http://schemas.microsoft.com/office/2006/metadata/properties" xmlns:ns2="416ffb77-c1da-417f-9629-16a2eef35b36" targetNamespace="http://schemas.microsoft.com/office/2006/metadata/properties" ma:root="true" ma:fieldsID="355a33a6b961989fc95bd3a156bdb605" ns2:_="">
    <xsd:import namespace="416ffb77-c1da-417f-9629-16a2eef35b36"/>
    <xsd:element name="properties">
      <xsd:complexType>
        <xsd:sequence>
          <xsd:element name="documentManagement">
            <xsd:complexType>
              <xsd:all>
                <xsd:element ref="ns2:_dlc_DocId" minOccurs="0"/>
                <xsd:element ref="ns2:_dlc_DocIdUrl" minOccurs="0"/>
                <xsd:element ref="ns2:_dlc_DocIdPersistId" minOccurs="0"/>
                <xsd:element ref="ns2:Titel" minOccurs="0"/>
                <xsd:element ref="ns2:Summary" minOccurs="0"/>
                <xsd:element ref="ns2:Project-ID" minOccurs="0"/>
                <xsd:element ref="ns2:Project_x0020_Name" minOccurs="0"/>
                <xsd:element ref="ns2:Project_x0020_Start_x0020_Date" minOccurs="0"/>
                <xsd:element ref="ns2:Project_x0020_End_x0020_Date" minOccurs="0"/>
                <xsd:element ref="ns2:Manager" minOccurs="0"/>
                <xsd:element ref="ns2:Manager_x0020_ID" minOccurs="0"/>
                <xsd:element ref="ns2:Key_x0020_Accounter" minOccurs="0"/>
                <xsd:element ref="ns2:Key_x0020_Accounter_x0020_ID" minOccurs="0"/>
                <xsd:element ref="ns2:Project_x0020_Phase" minOccurs="0"/>
                <xsd:element ref="ns2:Project_x0020_Status" minOccurs="0"/>
                <xsd:element ref="ns2:BrainNet_x0020_Company" minOccurs="0"/>
                <xsd:element ref="ns2:Autor" minOccurs="0"/>
                <xsd:element ref="ns2:Autor_x0020_ID" minOccurs="0"/>
                <xsd:element ref="ns2:Relevant_x0020_Practice" minOccurs="0"/>
                <xsd:element ref="ns2:Practice_x0020_Category" minOccurs="0"/>
                <xsd:element ref="ns2:Herkunft" minOccurs="0"/>
                <xsd:element ref="ns2:Plattform" minOccurs="0"/>
                <xsd:element ref="ns2:Datum_x0020_Erstellung" minOccurs="0"/>
                <xsd:element ref="ns2:Document_x0020_Type" minOccurs="0"/>
                <xsd:element ref="ns2:Document_x0020_Layout" minOccurs="0"/>
                <xsd:element ref="ns2:Document_x0020_Function" minOccurs="0"/>
                <xsd:element ref="ns2:Language_x0020_of_x0020_the_x0020_document" minOccurs="0"/>
                <xsd:element ref="ns2:Industry" minOccurs="0"/>
                <xsd:element ref="ns2:Usage" minOccurs="0"/>
                <xsd:element ref="ns2:Category_x0020__x002f__x0020_Class_x0020_of_x0020_Goods" minOccurs="0"/>
                <xsd:element ref="ns2:Enterprise_x0020_Size" minOccurs="0"/>
                <xsd:element ref="ns2:Turnover" minOccurs="0"/>
                <xsd:element ref="ns2:Competence_x0020_Center" minOccurs="0"/>
                <xsd:element ref="ns2:Region_x0020__x002f__x0020_Country" minOccurs="0"/>
                <xsd:element ref="ns2:Customer" minOccurs="0"/>
                <xsd:element ref="ns2:Fachverzweigung" minOccurs="0"/>
                <xsd:element ref="ns2:Functional_x0020_Intersection" minOccurs="0"/>
                <xsd:element ref="ns2:Individuelle_x0020_Tags" minOccurs="0"/>
                <xsd:element ref="ns2:Individual_x0020_Tags" minOccurs="0"/>
                <xsd:element ref="ns2:Best_x0020_Practice" minOccurs="0"/>
                <xsd:element ref="ns2:Template" minOccurs="0"/>
                <xsd:element ref="ns2:Projektphase" minOccurs="0"/>
                <xsd:element ref="ns2:Practice_x0020_Kategorie" minOccurs="0"/>
                <xsd:element ref="ns2:Projektstatus" minOccurs="0"/>
                <xsd:element ref="ns2:Relevante_x0020_Practice" minOccurs="0"/>
                <xsd:element ref="ns2:Dokumentenfunktion" minOccurs="0"/>
                <xsd:element ref="ns2:TaxCatchAll" minOccurs="0"/>
                <xsd:element ref="ns2:TaxCatchAllLabel" minOccurs="0"/>
                <xsd:element ref="ns2:Sprache_x0020_des_x0020_Dokuments" minOccurs="0"/>
                <xsd:element ref="ns2:Dokumentart" minOccurs="0"/>
                <xsd:element ref="ns2:Nutzung" minOccurs="0"/>
                <xsd:element ref="ns2:Industrie" minOccurs="0"/>
                <xsd:element ref="ns2:Kategorie_x0020__x002f__x0020_Warengruppe" minOccurs="0"/>
                <xsd:element ref="ns2:Unternehmensgröße" minOccurs="0"/>
                <xsd:element ref="ns2:Umsatzgruppe" minOccurs="0"/>
                <xsd:element ref="ns2:Region_x0020__x002f__x0020_Lan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6ffb77-c1da-417f-9629-16a2eef35b3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itel" ma:index="11" nillable="true" ma:displayName="Titel" ma:internalName="Titel">
      <xsd:simpleType>
        <xsd:restriction base="dms:Text">
          <xsd:maxLength value="255"/>
        </xsd:restriction>
      </xsd:simpleType>
    </xsd:element>
    <xsd:element name="Summary" ma:index="12" nillable="true" ma:displayName="Summary" ma:internalName="Summary">
      <xsd:simpleType>
        <xsd:restriction base="dms:Note">
          <xsd:maxLength value="255"/>
        </xsd:restriction>
      </xsd:simpleType>
    </xsd:element>
    <xsd:element name="Project-ID" ma:index="13" nillable="true" ma:displayName="Project-ID" ma:hidden="true" ma:internalName="Project_x002d_ID" ma:readOnly="false">
      <xsd:simpleType>
        <xsd:restriction base="dms:Text">
          <xsd:maxLength value="255"/>
        </xsd:restriction>
      </xsd:simpleType>
    </xsd:element>
    <xsd:element name="Project_x0020_Name" ma:index="14" nillable="true" ma:displayName="Project Name" ma:hidden="true" ma:internalName="Project_x0020_Name" ma:readOnly="false">
      <xsd:simpleType>
        <xsd:restriction base="dms:Text">
          <xsd:maxLength value="255"/>
        </xsd:restriction>
      </xsd:simpleType>
    </xsd:element>
    <xsd:element name="Project_x0020_Start_x0020_Date" ma:index="15" nillable="true" ma:displayName="Project Start Date" ma:format="DateOnly" ma:hidden="true" ma:internalName="Project_x0020_Start_x0020_Date" ma:readOnly="false">
      <xsd:simpleType>
        <xsd:restriction base="dms:DateTime"/>
      </xsd:simpleType>
    </xsd:element>
    <xsd:element name="Project_x0020_End_x0020_Date" ma:index="16" nillable="true" ma:displayName="Project End Date" ma:format="DateOnly" ma:hidden="true" ma:internalName="Project_x0020_End_x0020_Date" ma:readOnly="false">
      <xsd:simpleType>
        <xsd:restriction base="dms:DateTime"/>
      </xsd:simpleType>
    </xsd:element>
    <xsd:element name="Manager" ma:index="17" nillable="true" ma:displayName="Manager" ma:list="UserInfo" ma:SharePointGroup="0" ma:internalName="Manag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nager_x0020_ID" ma:index="18" nillable="true" ma:displayName="Manager ID" ma:internalName="Manager_x0020_ID">
      <xsd:simpleType>
        <xsd:restriction base="dms:Text">
          <xsd:maxLength value="255"/>
        </xsd:restriction>
      </xsd:simpleType>
    </xsd:element>
    <xsd:element name="Key_x0020_Accounter" ma:index="19" nillable="true" ma:displayName="Key Accounter" ma:hidden="true" ma:internalName="Key_x0020_Accounter" ma:readOnly="false">
      <xsd:simpleType>
        <xsd:restriction base="dms:Text">
          <xsd:maxLength value="255"/>
        </xsd:restriction>
      </xsd:simpleType>
    </xsd:element>
    <xsd:element name="Key_x0020_Accounter_x0020_ID" ma:index="20" nillable="true" ma:displayName="Key Accounter ID" ma:hidden="true" ma:internalName="Key_x0020_Accounter_x0020_ID" ma:readOnly="false">
      <xsd:simpleType>
        <xsd:restriction base="dms:Text">
          <xsd:maxLength value="255"/>
        </xsd:restriction>
      </xsd:simpleType>
    </xsd:element>
    <xsd:element name="Project_x0020_Phase" ma:index="21" nillable="true" ma:displayName="Project Phase" ma:format="Dropdown" ma:internalName="Project_x0020_Phase">
      <xsd:simpleType>
        <xsd:restriction base="dms:Choice">
          <xsd:enumeration value="Analysis"/>
          <xsd:enumeration value="Certification"/>
          <xsd:enumeration value="Conception"/>
          <xsd:enumeration value="Implementation"/>
          <xsd:enumeration value="Qualification"/>
          <xsd:enumeration value="Strategy"/>
        </xsd:restriction>
      </xsd:simpleType>
    </xsd:element>
    <xsd:element name="Project_x0020_Status" ma:index="22" nillable="true" ma:displayName="Project Status" ma:format="Dropdown" ma:internalName="Project_x0020_Status">
      <xsd:simpleType>
        <xsd:restriction base="dms:Choice">
          <xsd:enumeration value="Project Launch"/>
          <xsd:enumeration value="Project Execution"/>
          <xsd:enumeration value="Project Management"/>
          <xsd:enumeration value="Project Review"/>
        </xsd:restriction>
      </xsd:simpleType>
    </xsd:element>
    <xsd:element name="BrainNet_x0020_Company" ma:index="23" nillable="true" ma:displayName="BrainNet Company" ma:format="Dropdown" ma:hidden="true" ma:internalName="BrainNet_x0020_Company" ma:readOnly="false">
      <xsd:simpleType>
        <xsd:restriction base="dms:Choice">
          <xsd:enumeration value="BSMC"/>
          <xsd:enumeration value="SMIT"/>
          <xsd:enumeration value="BCPC"/>
          <xsd:enumeration value="BNAG"/>
          <xsd:enumeration value="BNCH"/>
          <xsd:enumeration value="BNCP"/>
          <xsd:enumeration value="BNEA"/>
          <xsd:enumeration value="BNGH"/>
          <xsd:enumeration value="BNIN"/>
          <xsd:enumeration value="BNMC"/>
          <xsd:enumeration value="BNMC"/>
          <xsd:enumeration value="BNSP"/>
          <xsd:enumeration value="BNUK"/>
          <xsd:enumeration value="BSCH"/>
          <xsd:enumeration value="BSCH"/>
          <xsd:enumeration value="BSMG"/>
          <xsd:enumeration value="andere"/>
        </xsd:restriction>
      </xsd:simpleType>
    </xsd:element>
    <xsd:element name="Autor" ma:index="24" nillable="true" ma:displayName="Autor" ma:list="UserInfo" ma:SharePointGroup="0" ma:internalName="Auto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or_x0020_ID" ma:index="25" nillable="true" ma:displayName="Autor ID" ma:internalName="Autor_x0020_ID">
      <xsd:simpleType>
        <xsd:restriction base="dms:Text">
          <xsd:maxLength value="255"/>
        </xsd:restriction>
      </xsd:simpleType>
    </xsd:element>
    <xsd:element name="Relevant_x0020_Practice" ma:index="26" nillable="true" ma:displayName="Relevant Practice" ma:format="Dropdown" ma:hidden="true" ma:internalName="Relevant_x0020_Practice" ma:readOnly="false">
      <xsd:simpleType>
        <xsd:restriction base="dms:Choice">
          <xsd:enumeration value="Best Value Country Sourcing"/>
          <xsd:enumeration value="Category Leadership"/>
          <xsd:enumeration value="Finance and Risk Management"/>
          <xsd:enumeration value="IT / Telecommunication"/>
          <xsd:enumeration value="Marketing/ Media"/>
          <xsd:enumeration value="Professional Services"/>
          <xsd:enumeration value="Raw Materials"/>
          <xsd:enumeration value="Sourcing - Procurement Processes / SRM"/>
          <xsd:enumeration value="Strategy and Transformation"/>
          <xsd:enumeration value="Supply Chain Management"/>
          <xsd:enumeration value="Transportation/ Logistics"/>
          <xsd:enumeration value="Waste Management / Green Procurement"/>
        </xsd:restriction>
      </xsd:simpleType>
    </xsd:element>
    <xsd:element name="Practice_x0020_Category" ma:index="27" nillable="true" ma:displayName="Practice Category" ma:format="Dropdown" ma:hidden="true" ma:internalName="Practice_x0020_Category" ma:readOnly="false">
      <xsd:simpleType>
        <xsd:restriction base="dms:Choice">
          <xsd:enumeration value="Performance Measurement"/>
        </xsd:restriction>
      </xsd:simpleType>
    </xsd:element>
    <xsd:element name="Herkunft" ma:index="28" nillable="true" ma:displayName="Herkunft / Origin" ma:format="Dropdown" ma:internalName="Herkunft">
      <xsd:simpleType>
        <xsd:restriction base="dms:Choice">
          <xsd:enumeration value="Extern"/>
          <xsd:enumeration value="Intern"/>
          <xsd:enumeration value="Practice"/>
          <xsd:enumeration value="Projekt"/>
          <xsd:enumeration value="Sales"/>
        </xsd:restriction>
      </xsd:simpleType>
    </xsd:element>
    <xsd:element name="Plattform" ma:index="29" nillable="true" ma:displayName="Plattform / Ursprung" ma:format="Dropdown" ma:internalName="Plattform">
      <xsd:simpleType>
        <xsd:restriction base="dms:Choice">
          <xsd:enumeration value="Consulting"/>
          <xsd:enumeration value="Qualification"/>
          <xsd:enumeration value="Research"/>
        </xsd:restriction>
      </xsd:simpleType>
    </xsd:element>
    <xsd:element name="Datum_x0020_Erstellung" ma:index="30" nillable="true" ma:displayName="Date Creation" ma:format="DateOnly" ma:internalName="Datum_x0020_Erstellung">
      <xsd:simpleType>
        <xsd:restriction base="dms:DateTime"/>
      </xsd:simpleType>
    </xsd:element>
    <xsd:element name="Document_x0020_Type" ma:index="31" nillable="true" ma:displayName="Document Type (BN)" ma:format="Dropdown" ma:internalName="Document_x0020_Type">
      <xsd:simpleType>
        <xsd:restriction base="dms:Choice">
          <xsd:enumeration value="Tools"/>
          <xsd:enumeration value="Benchmark"/>
          <xsd:enumeration value="Best Practice"/>
          <xsd:enumeration value="Case Study"/>
          <xsd:enumeration value="Checklist"/>
          <xsd:enumeration value="CV"/>
          <xsd:enumeration value="Draft"/>
          <xsd:enumeration value="eBook"/>
          <xsd:enumeration value="Executed case studies"/>
          <xsd:enumeration value="Exemplary case studies"/>
          <xsd:enumeration value="Exercises"/>
          <xsd:enumeration value="Guideline"/>
          <xsd:enumeration value="Handbook"/>
          <xsd:enumeration value="Letter/ Fax"/>
          <xsd:enumeration value="Manual"/>
          <xsd:enumeration value="Market Study/ Report"/>
          <xsd:enumeration value="Master Template"/>
          <xsd:enumeration value="Methodology"/>
          <xsd:enumeration value="Minutes of the Meeting"/>
          <xsd:enumeration value="Minutes/ Transcript"/>
          <xsd:enumeration value="Presentation"/>
          <xsd:enumeration value="Research"/>
          <xsd:enumeration value="Template"/>
        </xsd:restriction>
      </xsd:simpleType>
    </xsd:element>
    <xsd:element name="Document_x0020_Layout" ma:index="32" nillable="true" ma:displayName="Document Layout (BN)" ma:format="Dropdown" ma:internalName="Document_x0020_Layout">
      <xsd:simpleType>
        <xsd:restriction base="dms:Choice">
          <xsd:enumeration value="BSMC"/>
          <xsd:enumeration value="SMIT"/>
          <xsd:enumeration value="andere"/>
        </xsd:restriction>
      </xsd:simpleType>
    </xsd:element>
    <xsd:element name="Document_x0020_Function" ma:index="33" nillable="true" ma:displayName="Document Function" ma:format="Dropdown" ma:internalName="Document_x0020_Function">
      <xsd:simpleType>
        <xsd:restriction base="dms:Choice">
          <xsd:enumeration value="Acquisition presentation"/>
          <xsd:enumeration value="Client Feedback"/>
          <xsd:enumeration value="Definition"/>
          <xsd:enumeration value="Delivery"/>
          <xsd:enumeration value="Etc."/>
          <xsd:enumeration value="LOP"/>
          <xsd:enumeration value="PoV (Point of View)"/>
          <xsd:enumeration value="Project Review Board (PRB)"/>
          <xsd:enumeration value="Proposal"/>
          <xsd:enumeration value="Report"/>
          <xsd:enumeration value="RfQ (Request for Quotation)"/>
          <xsd:enumeration value="Special-LOP"/>
          <xsd:enumeration value="Standards"/>
          <xsd:enumeration value="Training"/>
        </xsd:restriction>
      </xsd:simpleType>
    </xsd:element>
    <xsd:element name="Language_x0020_of_x0020_the_x0020_document" ma:index="34" nillable="true" ma:displayName="Language of the document" ma:format="Dropdown" ma:internalName="Language_x0020_of_x0020_the_x0020_document">
      <xsd:simpleType>
        <xsd:restriction base="dms:Choice">
          <xsd:enumeration value="Cantonese"/>
          <xsd:enumeration value="Chinese (Mandarin)"/>
          <xsd:enumeration value="Czech"/>
          <xsd:enumeration value="English"/>
          <xsd:enumeration value="French"/>
          <xsd:enumeration value="German"/>
          <xsd:enumeration value="Hungarian"/>
          <xsd:enumeration value="Italian"/>
          <xsd:enumeration value="Japanese"/>
          <xsd:enumeration value="Polish"/>
          <xsd:enumeration value="Portuguese"/>
          <xsd:enumeration value="Rumanian"/>
          <xsd:enumeration value="Russian"/>
          <xsd:enumeration value="Spanish"/>
          <xsd:enumeration value="Etc."/>
        </xsd:restriction>
      </xsd:simpleType>
    </xsd:element>
    <xsd:element name="Industry" ma:index="35" nillable="true" ma:displayName="Industry" ma:format="Dropdown" ma:hidden="true" ma:internalName="Industry" ma:readOnly="false">
      <xsd:simpleType>
        <xsd:restriction base="dms:Choice">
          <xsd:enumeration value="All"/>
          <xsd:enumeration value="Aerospace industry"/>
          <xsd:enumeration value="Art &amp; Culture"/>
          <xsd:enumeration value="Associations &amp; endowment"/>
          <xsd:enumeration value="Auditing"/>
          <xsd:enumeration value="Automotive &amp; Supplier"/>
          <xsd:enumeration value="Chemicals"/>
          <xsd:enumeration value="Comestible Goods"/>
          <xsd:enumeration value="Commerce"/>
          <xsd:enumeration value="Construction &amp; building materials"/>
          <xsd:enumeration value="Consulting"/>
          <xsd:enumeration value="Consumer Goods Industry"/>
          <xsd:enumeration value="Design &amp; Architecture"/>
          <xsd:enumeration value="Distribution &amp; Logistics"/>
          <xsd:enumeration value="Electronic industry"/>
          <xsd:enumeration value="Finance investors"/>
          <xsd:enumeration value="Finance, Insurance"/>
          <xsd:enumeration value="Furniture"/>
          <xsd:enumeration value="Gastronomy"/>
          <xsd:enumeration value="Hand craft"/>
          <xsd:enumeration value="Health care"/>
          <xsd:enumeration value="IT &amp; Communication"/>
          <xsd:enumeration value="Marketing and Media"/>
          <xsd:enumeration value="Mechenical Engineering &amp; Industrial Plant Construction"/>
          <xsd:enumeration value="Media &amp; Information"/>
          <xsd:enumeration value="Medicine"/>
          <xsd:enumeration value="Oil &amp; Gas extraction"/>
          <xsd:enumeration value="Pharmaceutical industry"/>
          <xsd:enumeration value="Process industry (e.g. steel, glas, metal, paper)"/>
          <xsd:enumeration value="Public administration"/>
          <xsd:enumeration value="Real Estate"/>
          <xsd:enumeration value="Research"/>
          <xsd:enumeration value="Safety engineering"/>
          <xsd:enumeration value="Textile &amp; Apparels"/>
          <xsd:enumeration value="Traffic &amp; tourism"/>
          <xsd:enumeration value="Trainer"/>
          <xsd:enumeration value="Transport"/>
          <xsd:enumeration value="Utlities (Electricity, Gas, Waste, etc.)"/>
        </xsd:restriction>
      </xsd:simpleType>
    </xsd:element>
    <xsd:element name="Usage" ma:index="36" nillable="true" ma:displayName="Usage" ma:format="Dropdown" ma:internalName="Usage">
      <xsd:simpleType>
        <xsd:restriction base="dms:Choice">
          <xsd:enumeration value="Internal"/>
          <xsd:enumeration value="External"/>
          <xsd:enumeration value="Confidential"/>
        </xsd:restriction>
      </xsd:simpleType>
    </xsd:element>
    <xsd:element name="Category_x0020__x002f__x0020_Class_x0020_of_x0020_Goods" ma:index="37" nillable="true" ma:displayName="Category / Class of Goods" ma:hidden="true" ma:list="{7d8b0732-f92e-4451-9401-28356b4a8b41}" ma:internalName="Category_x0020__x002F__x0020_Class_x0020_of_x0020_Goods" ma:readOnly="false" ma:showField="Title"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Enterprise_x0020_Size" ma:index="38" nillable="true" ma:displayName="Enterprise Size" ma:format="Dropdown" ma:hidden="true" ma:internalName="Enterprise_x0020_Size" ma:readOnly="false">
      <xsd:simpleType>
        <xsd:restriction base="dms:Choice">
          <xsd:enumeration value="all"/>
          <xsd:enumeration value="&gt;= 25 Mrd. EUR"/>
          <xsd:enumeration value="10 - &lt; 25 Mrd. EUR"/>
          <xsd:enumeration value="5 - &lt; 10 Mrd. EUR"/>
          <xsd:enumeration value="2,5 - &lt; 5 Mrd. EUR"/>
          <xsd:enumeration value="1 - &lt; 2,5 Mrd. EUR"/>
          <xsd:enumeration value="750 - &lt; 1.000 Mio. EUR"/>
          <xsd:enumeration value="500 - &lt; 750 Mio. EUR"/>
          <xsd:enumeration value="250 - &lt; 500 Mio. EUR"/>
          <xsd:enumeration value="100 - &lt; 250 Mio. EUR"/>
          <xsd:enumeration value="25 - &lt; 100 Mio. EUR"/>
          <xsd:enumeration value="0 - &lt; 25 Mio. EUR"/>
          <xsd:enumeration value="&gt;= 100.000 Mitarbeiter"/>
          <xsd:enumeration value="50.000 - &lt; 100.000 Mitarbeiter"/>
          <xsd:enumeration value="10.000 - &lt; 50.000 Mitarbeiter"/>
          <xsd:enumeration value="5.000 - &lt; 10.000 Mitarbeiter"/>
          <xsd:enumeration value="2.500 - &lt; 5.000 Mitarbeiter"/>
          <xsd:enumeration value="1.000 - &lt; 2.500 Mitarbeiter"/>
          <xsd:enumeration value="500 - &lt; 1.000 Mitarbeiter"/>
          <xsd:enumeration value="250 - &lt; 500 Mitarbeiter"/>
          <xsd:enumeration value="50 - &lt; 250 Mitarbeiter"/>
          <xsd:enumeration value="&lt; 50 Mitarbeiter"/>
        </xsd:restriction>
      </xsd:simpleType>
    </xsd:element>
    <xsd:element name="Turnover" ma:index="39" nillable="true" ma:displayName="Turnover" ma:list="{f33b4a45-a70a-4c1a-af04-1697ae796934}" ma:internalName="Turnover" ma:showField="Title" ma:web="416ffb77-c1da-417f-9629-16a2eef35b36">
      <xsd:simpleType>
        <xsd:restriction base="dms:Lookup"/>
      </xsd:simpleType>
    </xsd:element>
    <xsd:element name="Competence_x0020_Center" ma:index="40" nillable="true" ma:displayName="Competence Center" ma:format="Dropdown" ma:hidden="true" ma:internalName="Competence_x0020_Center" ma:readOnly="false">
      <xsd:simpleType>
        <xsd:restriction base="dms:Choice">
          <xsd:enumeration value="BlueChip"/>
          <xsd:enumeration value="MidCap"/>
          <xsd:enumeration value="Small"/>
          <xsd:enumeration value="Public"/>
          <xsd:enumeration value="Intern"/>
        </xsd:restriction>
      </xsd:simpleType>
    </xsd:element>
    <xsd:element name="Region_x0020__x002f__x0020_Country" ma:index="41" nillable="true" ma:displayName="Region / Country" ma:format="Dropdown" ma:hidden="true" ma:internalName="Region_x0020__x002F__x0020_Country" ma:readOnly="false">
      <xsd:simpleType>
        <xsd:restriction base="dms:Choice">
          <xsd:enumeration value="Africa"/>
          <xsd:enumeration value="Austria"/>
          <xsd:enumeration value="Belgium"/>
          <xsd:enumeration value="Bulgaria"/>
          <xsd:enumeration value="Central Asia"/>
          <xsd:enumeration value="China"/>
          <xsd:enumeration value="Croatia"/>
          <xsd:enumeration value="Cyprus"/>
          <xsd:enumeration value="Czech Republic"/>
          <xsd:enumeration value="Denmark"/>
          <xsd:enumeration value="East Asia and Pacific"/>
          <xsd:enumeration value="Estonia"/>
          <xsd:enumeration value="Europe"/>
          <xsd:enumeration value="European Union"/>
          <xsd:enumeration value="Finland"/>
          <xsd:enumeration value="France"/>
          <xsd:enumeration value="Germany"/>
          <xsd:enumeration value="Greece"/>
          <xsd:enumeration value="Hungary"/>
          <xsd:enumeration value="Italy"/>
          <xsd:enumeration value="Korea"/>
          <xsd:enumeration value="Latin America and Caribbean"/>
          <xsd:enumeration value="Latvia"/>
          <xsd:enumeration value="Lithuania"/>
          <xsd:enumeration value="Luxembourg"/>
          <xsd:enumeration value="Macedonia"/>
          <xsd:enumeration value="Middle East and North Africa (MENA)"/>
          <xsd:enumeration value="Netherlands"/>
          <xsd:enumeration value="North America"/>
          <xsd:enumeration value="Norway"/>
          <xsd:enumeration value="Poland"/>
          <xsd:enumeration value="Portugal"/>
          <xsd:enumeration value="Rumania"/>
          <xsd:enumeration value="Russia"/>
          <xsd:enumeration value="Slovakia"/>
          <xsd:enumeration value="Slovenia"/>
          <xsd:enumeration value="South Asia"/>
          <xsd:enumeration value="Spain"/>
          <xsd:enumeration value="Sweden"/>
          <xsd:enumeration value="Switzerland"/>
          <xsd:enumeration value="Thailand"/>
          <xsd:enumeration value="Turkey"/>
          <xsd:enumeration value="Ukraine"/>
          <xsd:enumeration value="United Kingdom"/>
          <xsd:enumeration value="USA"/>
        </xsd:restriction>
      </xsd:simpleType>
    </xsd:element>
    <xsd:element name="Customer" ma:index="42" nillable="true" ma:displayName="Customer" ma:hidden="true" ma:list="{9c2b5720-3b86-4ce9-9fb8-982b116ac412}" ma:internalName="Customer" ma:readOnly="false" ma:showField="Title" ma:web="416ffb77-c1da-417f-9629-16a2eef35b36">
      <xsd:simpleType>
        <xsd:restriction base="dms:Lookup"/>
      </xsd:simpleType>
    </xsd:element>
    <xsd:element name="Fachverzweigung" ma:index="43" nillable="true" ma:displayName="Fachverzweigung" ma:internalName="Fachverzweigung">
      <xsd:simpleType>
        <xsd:restriction base="dms:Text">
          <xsd:maxLength value="255"/>
        </xsd:restriction>
      </xsd:simpleType>
    </xsd:element>
    <xsd:element name="Functional_x0020_Intersection" ma:index="44" nillable="true" ma:displayName="Functional Intersection" ma:internalName="Functional_x0020_Intersection">
      <xsd:simpleType>
        <xsd:restriction base="dms:Text">
          <xsd:maxLength value="255"/>
        </xsd:restriction>
      </xsd:simpleType>
    </xsd:element>
    <xsd:element name="Individuelle_x0020_Tags" ma:index="45" nillable="true" ma:displayName="Individuelle Tags" ma:internalName="Individuelle_x0020_Tags">
      <xsd:simpleType>
        <xsd:restriction base="dms:Note">
          <xsd:maxLength value="255"/>
        </xsd:restriction>
      </xsd:simpleType>
    </xsd:element>
    <xsd:element name="Individual_x0020_Tags" ma:index="46" nillable="true" ma:displayName="Individual Tags" ma:internalName="Individual_x0020_Tags">
      <xsd:simpleType>
        <xsd:restriction base="dms:Note">
          <xsd:maxLength value="255"/>
        </xsd:restriction>
      </xsd:simpleType>
    </xsd:element>
    <xsd:element name="Best_x0020_Practice" ma:index="47" nillable="true" ma:displayName="Best Practice" ma:default="0" ma:internalName="Best_x0020_Practice">
      <xsd:simpleType>
        <xsd:restriction base="dms:Boolean"/>
      </xsd:simpleType>
    </xsd:element>
    <xsd:element name="Template" ma:index="48" nillable="true" ma:displayName="Template" ma:default="0" ma:internalName="Template">
      <xsd:simpleType>
        <xsd:restriction base="dms:Boolean"/>
      </xsd:simpleType>
    </xsd:element>
    <xsd:element name="Projektphase" ma:index="49" nillable="true" ma:displayName="Projektphase" ma:format="Dropdown" ma:internalName="Projektphase" ma:readOnly="false">
      <xsd:simpleType>
        <xsd:restriction base="dms:Choice">
          <xsd:enumeration value="Analyse"/>
          <xsd:enumeration value="Konzeption"/>
          <xsd:enumeration value="Qualifizierung"/>
          <xsd:enumeration value="Strategie"/>
          <xsd:enumeration value="Umsetzung"/>
          <xsd:enumeration value="Zertifizierung"/>
        </xsd:restriction>
      </xsd:simpleType>
    </xsd:element>
    <xsd:element name="Practice_x0020_Kategorie" ma:index="50" nillable="true" ma:displayName="Practice Kategorie" ma:format="Dropdown" ma:internalName="Practice_x0020_Kategorie" ma:readOnly="false">
      <xsd:simpleType>
        <xsd:restriction base="dms:Choice">
          <xsd:enumeration value="Leistungsmessung"/>
        </xsd:restriction>
      </xsd:simpleType>
    </xsd:element>
    <xsd:element name="Projektstatus" ma:index="51" nillable="true" ma:displayName="Projektstatus" ma:format="Dropdown" ma:internalName="Projektstatus" ma:readOnly="false">
      <xsd:simpleType>
        <xsd:restriction base="dms:Choice">
          <xsd:enumeration value="Projektanlauf"/>
          <xsd:enumeration value="Projektdurchführung"/>
          <xsd:enumeration value="Projektmanagement"/>
          <xsd:enumeration value="Projektnachbearbeitung"/>
        </xsd:restriction>
      </xsd:simpleType>
    </xsd:element>
    <xsd:element name="Relevante_x0020_Practice" ma:index="52" nillable="true" ma:displayName="Relevante Practice" ma:format="Dropdown" ma:internalName="Relevante_x0020_Practice" ma:readOnly="false">
      <xsd:simpleType>
        <xsd:restriction base="dms:Choice">
          <xsd:enumeration value="Abfallwirtschaft / Green Procurement"/>
          <xsd:enumeration value="Beschaffung - Procurement Processes / SRM"/>
          <xsd:enumeration value="Best Value Country Sourcing"/>
          <xsd:enumeration value="Category Leadership"/>
          <xsd:enumeration value="Finanzen und Risiko Management"/>
          <xsd:enumeration value="IT / Telekommunikation"/>
          <xsd:enumeration value="Marketing/ Media"/>
          <xsd:enumeration value="Professional Services"/>
          <xsd:enumeration value="Rohstoffe"/>
          <xsd:enumeration value="Strategie und Transformation"/>
          <xsd:enumeration value="Supply Chain Management"/>
          <xsd:enumeration value="Transport/ Logistik"/>
        </xsd:restriction>
      </xsd:simpleType>
    </xsd:element>
    <xsd:element name="Dokumentenfunktion" ma:index="53" nillable="true" ma:displayName="Dokumentenfunktion" ma:format="Dropdown" ma:internalName="Dokumentenfunktion" ma:readOnly="false">
      <xsd:simpleType>
        <xsd:restriction base="dms:Choice">
          <xsd:enumeration value="Akquisitionspräsentation"/>
          <xsd:enumeration value="Angebot"/>
          <xsd:enumeration value="Angebot"/>
          <xsd:enumeration value="Definition"/>
          <xsd:enumeration value="Delivery"/>
          <xsd:enumeration value="Etc."/>
          <xsd:enumeration value="Klienten Feedback"/>
          <xsd:enumeration value="PoV (Point of View)"/>
          <xsd:enumeration value="Preisanfrage"/>
          <xsd:enumeration value="Project Review Board (PRB)"/>
          <xsd:enumeration value="Report"/>
          <xsd:enumeration value="Sonder-LOP"/>
          <xsd:enumeration value="Standard"/>
          <xsd:enumeration value="Training"/>
        </xsd:restriction>
      </xsd:simpleType>
    </xsd:element>
    <xsd:element name="TaxCatchAll" ma:index="54" nillable="true" ma:displayName="Taxonomy Catch All Column" ma:hidden="true" ma:list="{8d69a584-3831-4d20-b4f6-87deb7ec6dab}" ma:internalName="TaxCatchAll" ma:showField="CatchAllData"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TaxCatchAllLabel" ma:index="55" nillable="true" ma:displayName="Taxonomy Catch All Column1" ma:hidden="true" ma:list="{8d69a584-3831-4d20-b4f6-87deb7ec6dab}" ma:internalName="TaxCatchAllLabel" ma:readOnly="true" ma:showField="CatchAllDataLabel"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Sprache_x0020_des_x0020_Dokuments" ma:index="56" nillable="true" ma:displayName="Sprache des Dokuments" ma:format="Dropdown" ma:hidden="true" ma:internalName="Sprache_x0020_des_x0020_Dokuments" ma:readOnly="false">
      <xsd:simpleType>
        <xsd:restriction base="dms:Choice">
          <xsd:enumeration value="Chinesisch (Mandarin)"/>
          <xsd:enumeration value="Deutsch"/>
          <xsd:enumeration value="Englisch"/>
          <xsd:enumeration value="Französisch"/>
          <xsd:enumeration value="Italienisch"/>
          <xsd:enumeration value="Japanisch"/>
          <xsd:enumeration value="Kantonesisch"/>
          <xsd:enumeration value="Polnisch"/>
          <xsd:enumeration value="Portugiesisch"/>
          <xsd:enumeration value="Rumänisch"/>
          <xsd:enumeration value="Russisch"/>
          <xsd:enumeration value="Spanisch"/>
          <xsd:enumeration value="Tschechisch"/>
          <xsd:enumeration value="Ungarisch"/>
          <xsd:enumeration value="Etc."/>
        </xsd:restriction>
      </xsd:simpleType>
    </xsd:element>
    <xsd:element name="Dokumentart" ma:index="57" nillable="true" ma:displayName="Dokumentart" ma:format="Dropdown" ma:hidden="true" ma:internalName="Dokumentart" ma:readOnly="false">
      <xsd:simpleType>
        <xsd:restriction base="dms:Choice">
          <xsd:enumeration value="Applikation"/>
          <xsd:enumeration value="bearbeitbare Fallstudie"/>
          <xsd:enumeration value="Benchmark"/>
          <xsd:enumeration value="Benutzerdokumentation"/>
          <xsd:enumeration value="Besprechungsprotokoll"/>
          <xsd:enumeration value="Bewährte Methoden/ Verfahren"/>
          <xsd:enumeration value="Brief/ Fax"/>
          <xsd:enumeration value="Checkliste"/>
          <xsd:enumeration value="CV"/>
          <xsd:enumeration value="eBook"/>
          <xsd:enumeration value="exemplarische Fallstudie"/>
          <xsd:enumeration value="Fallstudie"/>
          <xsd:enumeration value="Forschungsarbeit"/>
          <xsd:enumeration value="Handbuch"/>
          <xsd:enumeration value="Konzept"/>
          <xsd:enumeration value="Leitfaden"/>
          <xsd:enumeration value="Marktstudie"/>
          <xsd:enumeration value="Methodik"/>
          <xsd:enumeration value="Mustervorlage"/>
          <xsd:enumeration value="Präsentation"/>
          <xsd:enumeration value="Protokoll"/>
          <xsd:enumeration value="Übungen"/>
          <xsd:enumeration value="Vorlage"/>
        </xsd:restriction>
      </xsd:simpleType>
    </xsd:element>
    <xsd:element name="Nutzung" ma:index="58" nillable="true" ma:displayName="Nutzung" ma:format="Dropdown" ma:hidden="true" ma:internalName="Nutzung" ma:readOnly="false">
      <xsd:simpleType>
        <xsd:restriction base="dms:Choice">
          <xsd:enumeration value="Intern"/>
          <xsd:enumeration value="Extern"/>
          <xsd:enumeration value="Vertraulich"/>
        </xsd:restriction>
      </xsd:simpleType>
    </xsd:element>
    <xsd:element name="Industrie" ma:index="59" nillable="true" ma:displayName="Industrie" ma:format="Dropdown" ma:hidden="true" ma:internalName="Industrie" ma:readOnly="false">
      <xsd:simpleType>
        <xsd:restriction base="dms:Choice">
          <xsd:enumeration value="Alle"/>
          <xsd:enumeration value="Automobilindustrie &amp; Zulieferer"/>
          <xsd:enumeration value="Banken &amp; Versicherungen"/>
          <xsd:enumeration value="Bau &amp; Baustoffe"/>
          <xsd:enumeration value="Chemie"/>
          <xsd:enumeration value="Design &amp; Architektur"/>
          <xsd:enumeration value="Distribution &amp; Logistik"/>
          <xsd:enumeration value="Elektroindustrie"/>
          <xsd:enumeration value="Energieversorger &amp; Grundstoffe"/>
          <xsd:enumeration value="Finanzinvestoren"/>
          <xsd:enumeration value="Forschung &amp; Lehre"/>
          <xsd:enumeration value="Gastronomie"/>
          <xsd:enumeration value="Gesundheitswesen"/>
          <xsd:enumeration value="Handel"/>
          <xsd:enumeration value="Handwerk"/>
          <xsd:enumeration value="Immobilien"/>
          <xsd:enumeration value="IT &amp; Kommunikationstechnik"/>
          <xsd:enumeration value="Konsumgüterindustrie"/>
          <xsd:enumeration value="Kunst &amp; Kultur"/>
          <xsd:enumeration value="Luft- und Raumfahrt / Rüstung"/>
          <xsd:enumeration value="Marketing &amp; Werbung"/>
          <xsd:enumeration value="Maschinen- &amp; Anlagenbau"/>
          <xsd:enumeration value="Medien &amp; Informationen"/>
          <xsd:enumeration value="Medizin"/>
          <xsd:enumeration value="Möbel"/>
          <xsd:enumeration value="Nahrung &amp; Genussmittel"/>
          <xsd:enumeration value="Öffentliche Verwaltung"/>
          <xsd:enumeration value="Öl &amp; Gas"/>
          <xsd:enumeration value="Pharmazeutische Industrie"/>
          <xsd:enumeration value="Prozessindustrie (u.a. Stahl, Glas, Metall, Papier)"/>
          <xsd:enumeration value="Sicherheitstechnik"/>
          <xsd:enumeration value="Textil &amp; Bekleidung"/>
          <xsd:enumeration value="Trainer"/>
          <xsd:enumeration value="Transport"/>
          <xsd:enumeration value="Unternehmens-/ Beratung"/>
          <xsd:enumeration value="Vereine/ Stiftungen"/>
          <xsd:enumeration value="Verkehr &amp; Tourismus"/>
          <xsd:enumeration value="Wirtschaftsprüfung"/>
        </xsd:restriction>
      </xsd:simpleType>
    </xsd:element>
    <xsd:element name="Kategorie_x0020__x002f__x0020_Warengruppe" ma:index="60" nillable="true" ma:displayName="Kategorie / Warengruppe" ma:hidden="true" ma:list="{769320f2-3545-4afa-8249-66023b5e4b16}" ma:internalName="Kategorie_x0020__x002F__x0020_Warengruppe" ma:readOnly="false" ma:showField="Title" ma:web="416ffb77-c1da-417f-9629-16a2eef35b36">
      <xsd:complexType>
        <xsd:complexContent>
          <xsd:extension base="dms:MultiChoiceLookup">
            <xsd:sequence>
              <xsd:element name="Value" type="dms:Lookup" maxOccurs="unbounded" minOccurs="0" nillable="true"/>
            </xsd:sequence>
          </xsd:extension>
        </xsd:complexContent>
      </xsd:complexType>
    </xsd:element>
    <xsd:element name="Unternehmensgröße" ma:index="61" nillable="true" ma:displayName="Unternehmensgröße" ma:format="Dropdown" ma:hidden="true" ma:internalName="Unternehmensgr_x00f6__x00df_e" ma:readOnly="false">
      <xsd:simpleType>
        <xsd:restriction base="dms:Choice">
          <xsd:enumeration value="alle"/>
          <xsd:enumeration value="&gt;= 25 Mrd. EUR"/>
          <xsd:enumeration value="10 - &lt; 25 Mrd. EUR"/>
          <xsd:enumeration value="5 - &lt; 10 Mrd. EUR"/>
          <xsd:enumeration value="2,5 - &lt; 5 Mrd. EUR"/>
          <xsd:enumeration value="1 - &lt; 2,5 Mrd. EUR"/>
          <xsd:enumeration value="750 - &lt; 1.000 Mio. EUR"/>
          <xsd:enumeration value="500 - &lt; 750 Mio. EUR"/>
          <xsd:enumeration value="250 - &lt; 500 Mio. EUR"/>
          <xsd:enumeration value="100 - &lt; 250 Mio. EUR"/>
          <xsd:enumeration value="25 - &lt; 100 Mio. EUR"/>
          <xsd:enumeration value="0 - &lt; 25 Mio. EUR"/>
          <xsd:enumeration value="&gt;= 100.000 Mitarbeiter"/>
          <xsd:enumeration value="50.000 - &lt; 100.000 Mitarbeiter"/>
          <xsd:enumeration value="10.000 - &lt; 50.000 Mitarbeiter"/>
          <xsd:enumeration value="5.000 - &lt; 10.000 Mitarbeiter"/>
          <xsd:enumeration value="2.500 - &lt; 5.000 Mitarbeiter"/>
          <xsd:enumeration value="1.000 - &lt; 2.500 Mitarbeiter"/>
          <xsd:enumeration value="500 - &lt; 1.000 Mitarbeiter"/>
          <xsd:enumeration value="250 - &lt; 500 Mitarbeiter"/>
          <xsd:enumeration value="50 - &lt; 250 Mitarbeiter"/>
          <xsd:enumeration value="&lt; 50 Mitarbeiter"/>
        </xsd:restriction>
      </xsd:simpleType>
    </xsd:element>
    <xsd:element name="Umsatzgruppe" ma:index="62" nillable="true" ma:displayName="Umsatzgruppe" ma:format="Dropdown" ma:hidden="true" ma:internalName="Umsatzgruppe" ma:readOnly="false">
      <xsd:simpleType>
        <xsd:restriction base="dms:Choice">
          <xsd:enumeration value="BlueChip"/>
          <xsd:enumeration value="MidCap"/>
          <xsd:enumeration value="Small"/>
          <xsd:enumeration value="Public"/>
          <xsd:enumeration value="Intern"/>
        </xsd:restriction>
      </xsd:simpleType>
    </xsd:element>
    <xsd:element name="Region_x0020__x002f__x0020_Land" ma:index="63" nillable="true" ma:displayName="Region / Land" ma:format="Dropdown" ma:hidden="true" ma:internalName="Region_x0020__x002F__x0020_Land" ma:readOnly="false">
      <xsd:simpleType>
        <xsd:restriction base="dms:Choice">
          <xsd:enumeration value="Afrika"/>
          <xsd:enumeration value="Belgien"/>
          <xsd:enumeration value="Bulgarien"/>
          <xsd:enumeration value="China"/>
          <xsd:enumeration value="Dänemark"/>
          <xsd:enumeration value="Deutschland"/>
          <xsd:enumeration value="Estland"/>
          <xsd:enumeration value="Europa"/>
          <xsd:enumeration value="Europäische Union"/>
          <xsd:enumeration value="Finnland"/>
          <xsd:enumeration value="Frankreich"/>
          <xsd:enumeration value="Griechenland"/>
          <xsd:enumeration value="Großbritannien"/>
          <xsd:enumeration value="Italien"/>
          <xsd:enumeration value="Korea"/>
          <xsd:enumeration value="Kroatien"/>
          <xsd:enumeration value="Latein Amerika and Karibik"/>
          <xsd:enumeration value="Lettland"/>
          <xsd:enumeration value="Litauen"/>
          <xsd:enumeration value="Luxemburg"/>
          <xsd:enumeration value="Mazedonien"/>
          <xsd:enumeration value="Naher Osten und Nordafrika (MENA)"/>
          <xsd:enumeration value="Niederlande"/>
          <xsd:enumeration value="Nordamerika"/>
          <xsd:enumeration value="Norwegen"/>
          <xsd:enumeration value="Ostasien and Pazifik"/>
          <xsd:enumeration value="Österreich"/>
          <xsd:enumeration value="Polen"/>
          <xsd:enumeration value="Portugal"/>
          <xsd:enumeration value="Rumänien"/>
          <xsd:enumeration value="Russland"/>
          <xsd:enumeration value="Schweden"/>
          <xsd:enumeration value="Schweiz"/>
          <xsd:enumeration value="Slowakei"/>
          <xsd:enumeration value="Slowenien"/>
          <xsd:enumeration value="Spanien"/>
          <xsd:enumeration value="Südasien"/>
          <xsd:enumeration value="Thailand"/>
          <xsd:enumeration value="Tschechien"/>
          <xsd:enumeration value="Türkei"/>
          <xsd:enumeration value="Ukraine"/>
          <xsd:enumeration value="Ungarn"/>
          <xsd:enumeration value="USA"/>
          <xsd:enumeration value="Zentralasien"/>
          <xsd:enumeration value="Zyper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D83321C-3E4C-4311-9BEC-5741DC6B0AC0}"/>
</file>

<file path=customXml/itemProps2.xml><?xml version="1.0" encoding="utf-8"?>
<ds:datastoreItem xmlns:ds="http://schemas.openxmlformats.org/officeDocument/2006/customXml" ds:itemID="{24353479-9BDD-4505-B6F4-9AA70FBAB259}"/>
</file>

<file path=customXml/itemProps3.xml><?xml version="1.0" encoding="utf-8"?>
<ds:datastoreItem xmlns:ds="http://schemas.openxmlformats.org/officeDocument/2006/customXml" ds:itemID="{D9EFED1C-DCE1-459E-AC50-5BEA2E62F284}"/>
</file>

<file path=customXml/itemProps4.xml><?xml version="1.0" encoding="utf-8"?>
<ds:datastoreItem xmlns:ds="http://schemas.openxmlformats.org/officeDocument/2006/customXml" ds:itemID="{CB38AEDD-7402-4831-96F5-CA7EEE02BE22}"/>
</file>

<file path=docProps/app.xml><?xml version="1.0" encoding="utf-8"?>
<Properties xmlns="http://schemas.openxmlformats.org/officeDocument/2006/extended-properties" xmlns:vt="http://schemas.openxmlformats.org/officeDocument/2006/docPropsVTypes">
  <Template>blank</Template>
  <TotalTime>0</TotalTime>
  <Words>732</Words>
  <Application>Microsoft Office PowerPoint</Application>
  <PresentationFormat>A4 Paper (210x297 mm)</PresentationFormat>
  <Paragraphs>197</Paragraphs>
  <Slides>12</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blank</vt:lpstr>
      <vt:lpstr>think-cell Slide</vt:lpstr>
      <vt:lpstr>Project Set-up  BEAR 2.0 and PMC 3.0</vt:lpstr>
      <vt:lpstr>Agenda</vt:lpstr>
      <vt:lpstr>Management Summary Our new technology development encompasses our most business-relevant tools, hence we have to conduct a best-practice project mngt to ensure 100% quality.</vt:lpstr>
      <vt:lpstr>Agenda</vt:lpstr>
      <vt:lpstr>House Rules During the projects BEAR 2.0 and PMC 3.0 as well as for the future we will follow some fundamental rules! </vt:lpstr>
      <vt:lpstr>Agenda</vt:lpstr>
      <vt:lpstr>Project Organization - BEAR A clear project structure ensure clear responsibilities and an effective management.</vt:lpstr>
      <vt:lpstr>Project Organization - PMC A clear project structure ensure clear responsibilities and an effective management.</vt:lpstr>
      <vt:lpstr>Agenda</vt:lpstr>
      <vt:lpstr>Project Timeline -BEAR The analysis phase will be conducted in a four week timeframe and is split into three distinctive work streams. </vt:lpstr>
      <vt:lpstr>Project Timeline -PMC The analysis phase will be conducted in a four week timeframe and is split into three distinctive work streams. </vt:lpstr>
      <vt:lpstr>Slide 11</vt:lpstr>
    </vt:vector>
  </TitlesOfParts>
  <Company>KPM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Set-up  BEAR 2.0 and PMC 3.0</dc:title>
  <dc:creator>Jan Herrmann</dc:creator>
  <cp:lastModifiedBy>Jan Herrmann</cp:lastModifiedBy>
  <cp:revision>5</cp:revision>
  <cp:lastPrinted>2012-08-24T07:00:56Z</cp:lastPrinted>
  <dcterms:created xsi:type="dcterms:W3CDTF">2013-08-16T06:00:00Z</dcterms:created>
  <dcterms:modified xsi:type="dcterms:W3CDTF">2013-08-19T13:1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6CEBEB6BB9A141925895DAF32BA621</vt:lpwstr>
  </property>
  <property fmtid="{D5CDD505-2E9C-101B-9397-08002B2CF9AE}" pid="3" name="_dlc_DocIdItemGuid">
    <vt:lpwstr>a0a9cf56-457d-46ad-bda1-e47116f7c12f</vt:lpwstr>
  </property>
</Properties>
</file>